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59" r:id="rId2"/>
    <p:sldId id="2147473392" r:id="rId3"/>
    <p:sldId id="2147473387" r:id="rId4"/>
    <p:sldId id="301" r:id="rId5"/>
    <p:sldId id="302" r:id="rId6"/>
    <p:sldId id="2147473388" r:id="rId7"/>
    <p:sldId id="304" r:id="rId8"/>
    <p:sldId id="2147473390" r:id="rId9"/>
    <p:sldId id="2147473395" r:id="rId10"/>
    <p:sldId id="306" r:id="rId11"/>
    <p:sldId id="2147473389" r:id="rId12"/>
    <p:sldId id="307" r:id="rId13"/>
    <p:sldId id="2147473384" r:id="rId14"/>
    <p:sldId id="271" r:id="rId15"/>
    <p:sldId id="262" r:id="rId16"/>
    <p:sldId id="2147473382" r:id="rId17"/>
    <p:sldId id="286" r:id="rId18"/>
    <p:sldId id="272" r:id="rId19"/>
    <p:sldId id="297" r:id="rId20"/>
    <p:sldId id="298" r:id="rId21"/>
    <p:sldId id="274" r:id="rId22"/>
    <p:sldId id="295" r:id="rId23"/>
    <p:sldId id="292" r:id="rId24"/>
    <p:sldId id="299" r:id="rId25"/>
    <p:sldId id="294"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96F"/>
    <a:srgbClr val="2E75B6"/>
    <a:srgbClr val="4472C4"/>
    <a:srgbClr val="FFFFFF"/>
    <a:srgbClr val="BEBDBD"/>
    <a:srgbClr val="0F45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5ED805-F480-4EFF-B64B-F815BB4CD031}" v="244" dt="2024-10-22T13:49:19.0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71" autoAdjust="0"/>
    <p:restoredTop sz="94660"/>
  </p:normalViewPr>
  <p:slideViewPr>
    <p:cSldViewPr snapToGrid="0">
      <p:cViewPr varScale="1">
        <p:scale>
          <a:sx n="111" d="100"/>
          <a:sy n="111" d="100"/>
        </p:scale>
        <p:origin x="776" y="200"/>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ragusa, Gianmarco" userId="6df33696-2e6a-41ba-bc49-d574214408bc" providerId="ADAL" clId="{325ED805-F480-4EFF-B64B-F815BB4CD031}"/>
    <pc:docChg chg="undo redo custSel addSld delSld modSld sldOrd">
      <pc:chgData name="Siragusa, Gianmarco" userId="6df33696-2e6a-41ba-bc49-d574214408bc" providerId="ADAL" clId="{325ED805-F480-4EFF-B64B-F815BB4CD031}" dt="2024-10-22T13:53:33.762" v="1942" actId="207"/>
      <pc:docMkLst>
        <pc:docMk/>
      </pc:docMkLst>
      <pc:sldChg chg="modSp mod">
        <pc:chgData name="Siragusa, Gianmarco" userId="6df33696-2e6a-41ba-bc49-d574214408bc" providerId="ADAL" clId="{325ED805-F480-4EFF-B64B-F815BB4CD031}" dt="2024-10-22T12:55:19.033" v="1690" actId="113"/>
        <pc:sldMkLst>
          <pc:docMk/>
          <pc:sldMk cId="0" sldId="259"/>
        </pc:sldMkLst>
        <pc:spChg chg="mod">
          <ac:chgData name="Siragusa, Gianmarco" userId="6df33696-2e6a-41ba-bc49-d574214408bc" providerId="ADAL" clId="{325ED805-F480-4EFF-B64B-F815BB4CD031}" dt="2024-10-22T12:55:19.033" v="1690" actId="113"/>
          <ac:spMkLst>
            <pc:docMk/>
            <pc:sldMk cId="0" sldId="259"/>
            <ac:spMk id="28" creationId="{263220F2-82B5-7227-48C6-F8167D2B0EB6}"/>
          </ac:spMkLst>
        </pc:spChg>
      </pc:sldChg>
      <pc:sldChg chg="ord">
        <pc:chgData name="Siragusa, Gianmarco" userId="6df33696-2e6a-41ba-bc49-d574214408bc" providerId="ADAL" clId="{325ED805-F480-4EFF-B64B-F815BB4CD031}" dt="2024-10-21T18:22:26.480" v="672"/>
        <pc:sldMkLst>
          <pc:docMk/>
          <pc:sldMk cId="1704780870" sldId="262"/>
        </pc:sldMkLst>
      </pc:sldChg>
      <pc:sldChg chg="addSp delSp modSp mod ord">
        <pc:chgData name="Siragusa, Gianmarco" userId="6df33696-2e6a-41ba-bc49-d574214408bc" providerId="ADAL" clId="{325ED805-F480-4EFF-B64B-F815BB4CD031}" dt="2024-10-22T08:03:00.166" v="946"/>
        <pc:sldMkLst>
          <pc:docMk/>
          <pc:sldMk cId="492902662" sldId="271"/>
        </pc:sldMkLst>
        <pc:spChg chg="add mod">
          <ac:chgData name="Siragusa, Gianmarco" userId="6df33696-2e6a-41ba-bc49-d574214408bc" providerId="ADAL" clId="{325ED805-F480-4EFF-B64B-F815BB4CD031}" dt="2024-10-21T17:40:37.883" v="5" actId="14100"/>
          <ac:spMkLst>
            <pc:docMk/>
            <pc:sldMk cId="492902662" sldId="271"/>
            <ac:spMk id="2" creationId="{EDEB00B4-4A75-E6B4-ED52-7C5C35000CFC}"/>
          </ac:spMkLst>
        </pc:spChg>
        <pc:spChg chg="del">
          <ac:chgData name="Siragusa, Gianmarco" userId="6df33696-2e6a-41ba-bc49-d574214408bc" providerId="ADAL" clId="{325ED805-F480-4EFF-B64B-F815BB4CD031}" dt="2024-10-21T17:40:39.771" v="6" actId="478"/>
          <ac:spMkLst>
            <pc:docMk/>
            <pc:sldMk cId="492902662" sldId="271"/>
            <ac:spMk id="6" creationId="{D12443A4-BC93-6002-A5C0-073C2FA52B7C}"/>
          </ac:spMkLst>
        </pc:spChg>
        <pc:spChg chg="del mod">
          <ac:chgData name="Siragusa, Gianmarco" userId="6df33696-2e6a-41ba-bc49-d574214408bc" providerId="ADAL" clId="{325ED805-F480-4EFF-B64B-F815BB4CD031}" dt="2024-10-21T17:42:41.664" v="28" actId="478"/>
          <ac:spMkLst>
            <pc:docMk/>
            <pc:sldMk cId="492902662" sldId="271"/>
            <ac:spMk id="9" creationId="{35E14DDB-792E-43CB-84DB-017249465A8E}"/>
          </ac:spMkLst>
        </pc:spChg>
        <pc:spChg chg="add del mod">
          <ac:chgData name="Siragusa, Gianmarco" userId="6df33696-2e6a-41ba-bc49-d574214408bc" providerId="ADAL" clId="{325ED805-F480-4EFF-B64B-F815BB4CD031}" dt="2024-10-21T17:40:41.969" v="7" actId="478"/>
          <ac:spMkLst>
            <pc:docMk/>
            <pc:sldMk cId="492902662" sldId="271"/>
            <ac:spMk id="13" creationId="{CA4F9650-B216-718F-8C7E-2E59EC022167}"/>
          </ac:spMkLst>
        </pc:spChg>
        <pc:spChg chg="add mod">
          <ac:chgData name="Siragusa, Gianmarco" userId="6df33696-2e6a-41ba-bc49-d574214408bc" providerId="ADAL" clId="{325ED805-F480-4EFF-B64B-F815BB4CD031}" dt="2024-10-21T17:41:50.412" v="14" actId="1076"/>
          <ac:spMkLst>
            <pc:docMk/>
            <pc:sldMk cId="492902662" sldId="271"/>
            <ac:spMk id="14" creationId="{E12F5498-541B-9ED4-99F8-31C6C614D929}"/>
          </ac:spMkLst>
        </pc:spChg>
        <pc:spChg chg="add mod">
          <ac:chgData name="Siragusa, Gianmarco" userId="6df33696-2e6a-41ba-bc49-d574214408bc" providerId="ADAL" clId="{325ED805-F480-4EFF-B64B-F815BB4CD031}" dt="2024-10-21T18:15:33.455" v="570"/>
          <ac:spMkLst>
            <pc:docMk/>
            <pc:sldMk cId="492902662" sldId="271"/>
            <ac:spMk id="15" creationId="{2D94D221-C15A-8241-633C-9E962EAC9963}"/>
          </ac:spMkLst>
        </pc:spChg>
        <pc:spChg chg="add mod">
          <ac:chgData name="Siragusa, Gianmarco" userId="6df33696-2e6a-41ba-bc49-d574214408bc" providerId="ADAL" clId="{325ED805-F480-4EFF-B64B-F815BB4CD031}" dt="2024-10-21T17:43:17.931" v="46" actId="164"/>
          <ac:spMkLst>
            <pc:docMk/>
            <pc:sldMk cId="492902662" sldId="271"/>
            <ac:spMk id="16" creationId="{BDD6B88F-5EF5-012B-8CFA-DDEAEEEFC341}"/>
          </ac:spMkLst>
        </pc:spChg>
        <pc:spChg chg="add del mod">
          <ac:chgData name="Siragusa, Gianmarco" userId="6df33696-2e6a-41ba-bc49-d574214408bc" providerId="ADAL" clId="{325ED805-F480-4EFF-B64B-F815BB4CD031}" dt="2024-10-21T17:42:30.217" v="23" actId="478"/>
          <ac:spMkLst>
            <pc:docMk/>
            <pc:sldMk cId="492902662" sldId="271"/>
            <ac:spMk id="18" creationId="{D21C21C5-FC02-86DB-84A2-AA55435DD150}"/>
          </ac:spMkLst>
        </pc:spChg>
        <pc:spChg chg="add mod">
          <ac:chgData name="Siragusa, Gianmarco" userId="6df33696-2e6a-41ba-bc49-d574214408bc" providerId="ADAL" clId="{325ED805-F480-4EFF-B64B-F815BB4CD031}" dt="2024-10-21T17:42:34.061" v="26"/>
          <ac:spMkLst>
            <pc:docMk/>
            <pc:sldMk cId="492902662" sldId="271"/>
            <ac:spMk id="19" creationId="{FAA4F892-36A8-652A-CAE8-FE4E13D6DCA4}"/>
          </ac:spMkLst>
        </pc:spChg>
        <pc:spChg chg="add del mod">
          <ac:chgData name="Siragusa, Gianmarco" userId="6df33696-2e6a-41ba-bc49-d574214408bc" providerId="ADAL" clId="{325ED805-F480-4EFF-B64B-F815BB4CD031}" dt="2024-10-21T17:43:36.426" v="50" actId="478"/>
          <ac:spMkLst>
            <pc:docMk/>
            <pc:sldMk cId="492902662" sldId="271"/>
            <ac:spMk id="21" creationId="{2DC51784-9F91-2936-ABC8-81CBF888350E}"/>
          </ac:spMkLst>
        </pc:spChg>
        <pc:grpChg chg="mod">
          <ac:chgData name="Siragusa, Gianmarco" userId="6df33696-2e6a-41ba-bc49-d574214408bc" providerId="ADAL" clId="{325ED805-F480-4EFF-B64B-F815BB4CD031}" dt="2024-10-21T17:43:20.521" v="47" actId="12789"/>
          <ac:grpSpMkLst>
            <pc:docMk/>
            <pc:sldMk cId="492902662" sldId="271"/>
            <ac:grpSpMk id="7" creationId="{4B49CC69-892C-4F59-8B67-61A4C56268C0}"/>
          </ac:grpSpMkLst>
        </pc:grpChg>
        <pc:grpChg chg="add mod">
          <ac:chgData name="Siragusa, Gianmarco" userId="6df33696-2e6a-41ba-bc49-d574214408bc" providerId="ADAL" clId="{325ED805-F480-4EFF-B64B-F815BB4CD031}" dt="2024-10-21T17:43:20.521" v="47" actId="12789"/>
          <ac:grpSpMkLst>
            <pc:docMk/>
            <pc:sldMk cId="492902662" sldId="271"/>
            <ac:grpSpMk id="20" creationId="{B2627D18-9FDE-DC15-B055-416BDABBA024}"/>
          </ac:grpSpMkLst>
        </pc:grpChg>
      </pc:sldChg>
      <pc:sldChg chg="addSp delSp modSp del mod ord">
        <pc:chgData name="Siragusa, Gianmarco" userId="6df33696-2e6a-41ba-bc49-d574214408bc" providerId="ADAL" clId="{325ED805-F480-4EFF-B64B-F815BB4CD031}" dt="2024-10-21T20:29:07.015" v="774" actId="47"/>
        <pc:sldMkLst>
          <pc:docMk/>
          <pc:sldMk cId="2471039697" sldId="300"/>
        </pc:sldMkLst>
        <pc:spChg chg="mod">
          <ac:chgData name="Siragusa, Gianmarco" userId="6df33696-2e6a-41ba-bc49-d574214408bc" providerId="ADAL" clId="{325ED805-F480-4EFF-B64B-F815BB4CD031}" dt="2024-10-21T17:51:52.783" v="198" actId="12789"/>
          <ac:spMkLst>
            <pc:docMk/>
            <pc:sldMk cId="2471039697" sldId="300"/>
            <ac:spMk id="2" creationId="{2A8746B6-E49B-52D8-072C-4453AC5AE516}"/>
          </ac:spMkLst>
        </pc:spChg>
        <pc:spChg chg="mod">
          <ac:chgData name="Siragusa, Gianmarco" userId="6df33696-2e6a-41ba-bc49-d574214408bc" providerId="ADAL" clId="{325ED805-F480-4EFF-B64B-F815BB4CD031}" dt="2024-10-21T17:52:08.166" v="206" actId="20577"/>
          <ac:spMkLst>
            <pc:docMk/>
            <pc:sldMk cId="2471039697" sldId="300"/>
            <ac:spMk id="5" creationId="{11EF8D98-DED0-9F90-B998-8F75D4391AB5}"/>
          </ac:spMkLst>
        </pc:spChg>
        <pc:spChg chg="del">
          <ac:chgData name="Siragusa, Gianmarco" userId="6df33696-2e6a-41ba-bc49-d574214408bc" providerId="ADAL" clId="{325ED805-F480-4EFF-B64B-F815BB4CD031}" dt="2024-10-21T17:44:05.799" v="55" actId="478"/>
          <ac:spMkLst>
            <pc:docMk/>
            <pc:sldMk cId="2471039697" sldId="300"/>
            <ac:spMk id="6" creationId="{5A666F9E-9DE1-9987-1B80-68ECD4B727AC}"/>
          </ac:spMkLst>
        </pc:spChg>
        <pc:spChg chg="del">
          <ac:chgData name="Siragusa, Gianmarco" userId="6df33696-2e6a-41ba-bc49-d574214408bc" providerId="ADAL" clId="{325ED805-F480-4EFF-B64B-F815BB4CD031}" dt="2024-10-21T17:44:34.485" v="67" actId="478"/>
          <ac:spMkLst>
            <pc:docMk/>
            <pc:sldMk cId="2471039697" sldId="300"/>
            <ac:spMk id="7" creationId="{681032D1-4C1E-0DD9-F0E3-EF76384DBAF9}"/>
          </ac:spMkLst>
        </pc:spChg>
        <pc:spChg chg="add del mod">
          <ac:chgData name="Siragusa, Gianmarco" userId="6df33696-2e6a-41ba-bc49-d574214408bc" providerId="ADAL" clId="{325ED805-F480-4EFF-B64B-F815BB4CD031}" dt="2024-10-21T17:44:31.782" v="66" actId="114"/>
          <ac:spMkLst>
            <pc:docMk/>
            <pc:sldMk cId="2471039697" sldId="300"/>
            <ac:spMk id="8" creationId="{F1ED9E9D-03F8-8066-6FCA-CCD5ACCA4B4B}"/>
          </ac:spMkLst>
        </pc:spChg>
        <pc:spChg chg="add mod">
          <ac:chgData name="Siragusa, Gianmarco" userId="6df33696-2e6a-41ba-bc49-d574214408bc" providerId="ADAL" clId="{325ED805-F480-4EFF-B64B-F815BB4CD031}" dt="2024-10-21T17:44:02.759" v="54" actId="14100"/>
          <ac:spMkLst>
            <pc:docMk/>
            <pc:sldMk cId="2471039697" sldId="300"/>
            <ac:spMk id="9" creationId="{9DDFF07B-809F-BADB-DAB1-1A39B2A053A7}"/>
          </ac:spMkLst>
        </pc:spChg>
        <pc:spChg chg="add del mod">
          <ac:chgData name="Siragusa, Gianmarco" userId="6df33696-2e6a-41ba-bc49-d574214408bc" providerId="ADAL" clId="{325ED805-F480-4EFF-B64B-F815BB4CD031}" dt="2024-10-21T17:44:10.887" v="58" actId="478"/>
          <ac:spMkLst>
            <pc:docMk/>
            <pc:sldMk cId="2471039697" sldId="300"/>
            <ac:spMk id="11" creationId="{A4F89514-D96E-BAAF-1360-48233BCA3110}"/>
          </ac:spMkLst>
        </pc:spChg>
        <pc:spChg chg="add mod">
          <ac:chgData name="Siragusa, Gianmarco" userId="6df33696-2e6a-41ba-bc49-d574214408bc" providerId="ADAL" clId="{325ED805-F480-4EFF-B64B-F815BB4CD031}" dt="2024-10-21T17:45:24.305" v="68"/>
          <ac:spMkLst>
            <pc:docMk/>
            <pc:sldMk cId="2471039697" sldId="300"/>
            <ac:spMk id="12" creationId="{4D96F993-2FB0-9D21-347D-B33BFB0D26C5}"/>
          </ac:spMkLst>
        </pc:spChg>
        <pc:spChg chg="add mod">
          <ac:chgData name="Siragusa, Gianmarco" userId="6df33696-2e6a-41ba-bc49-d574214408bc" providerId="ADAL" clId="{325ED805-F480-4EFF-B64B-F815BB4CD031}" dt="2024-10-21T17:45:24.305" v="68"/>
          <ac:spMkLst>
            <pc:docMk/>
            <pc:sldMk cId="2471039697" sldId="300"/>
            <ac:spMk id="13" creationId="{B983E20B-69C7-3583-668E-ECD7B25DE63D}"/>
          </ac:spMkLst>
        </pc:spChg>
        <pc:spChg chg="add del mod">
          <ac:chgData name="Siragusa, Gianmarco" userId="6df33696-2e6a-41ba-bc49-d574214408bc" providerId="ADAL" clId="{325ED805-F480-4EFF-B64B-F815BB4CD031}" dt="2024-10-21T17:50:03.025" v="141" actId="478"/>
          <ac:spMkLst>
            <pc:docMk/>
            <pc:sldMk cId="2471039697" sldId="300"/>
            <ac:spMk id="14" creationId="{FAB24901-023C-185F-4C79-A70B79910789}"/>
          </ac:spMkLst>
        </pc:spChg>
        <pc:spChg chg="add del mod">
          <ac:chgData name="Siragusa, Gianmarco" userId="6df33696-2e6a-41ba-bc49-d574214408bc" providerId="ADAL" clId="{325ED805-F480-4EFF-B64B-F815BB4CD031}" dt="2024-10-21T17:50:04.765" v="142" actId="478"/>
          <ac:spMkLst>
            <pc:docMk/>
            <pc:sldMk cId="2471039697" sldId="300"/>
            <ac:spMk id="15" creationId="{F09285EE-D562-5145-E1A3-5EDBCDFA1447}"/>
          </ac:spMkLst>
        </pc:spChg>
        <pc:spChg chg="add mod ord">
          <ac:chgData name="Siragusa, Gianmarco" userId="6df33696-2e6a-41ba-bc49-d574214408bc" providerId="ADAL" clId="{325ED805-F480-4EFF-B64B-F815BB4CD031}" dt="2024-10-21T17:51:30.788" v="192" actId="12"/>
          <ac:spMkLst>
            <pc:docMk/>
            <pc:sldMk cId="2471039697" sldId="300"/>
            <ac:spMk id="16" creationId="{C3256EE2-24B5-E52C-360E-8010C0718D1E}"/>
          </ac:spMkLst>
        </pc:spChg>
        <pc:spChg chg="add mod ord">
          <ac:chgData name="Siragusa, Gianmarco" userId="6df33696-2e6a-41ba-bc49-d574214408bc" providerId="ADAL" clId="{325ED805-F480-4EFF-B64B-F815BB4CD031}" dt="2024-10-21T17:48:49.360" v="135" actId="20577"/>
          <ac:spMkLst>
            <pc:docMk/>
            <pc:sldMk cId="2471039697" sldId="300"/>
            <ac:spMk id="17" creationId="{C001D77A-0B39-71C4-DD3E-1FFB397BD06A}"/>
          </ac:spMkLst>
        </pc:spChg>
        <pc:spChg chg="add mod">
          <ac:chgData name="Siragusa, Gianmarco" userId="6df33696-2e6a-41ba-bc49-d574214408bc" providerId="ADAL" clId="{325ED805-F480-4EFF-B64B-F815BB4CD031}" dt="2024-10-21T17:49:55.656" v="138"/>
          <ac:spMkLst>
            <pc:docMk/>
            <pc:sldMk cId="2471039697" sldId="300"/>
            <ac:spMk id="19" creationId="{B9CCBC73-51C6-04EF-9FEA-FD5EA0340BA7}"/>
          </ac:spMkLst>
        </pc:spChg>
        <pc:spChg chg="add mod">
          <ac:chgData name="Siragusa, Gianmarco" userId="6df33696-2e6a-41ba-bc49-d574214408bc" providerId="ADAL" clId="{325ED805-F480-4EFF-B64B-F815BB4CD031}" dt="2024-10-21T17:50:29.585" v="178" actId="20577"/>
          <ac:spMkLst>
            <pc:docMk/>
            <pc:sldMk cId="2471039697" sldId="300"/>
            <ac:spMk id="20" creationId="{3B375065-4FD4-A9B1-72E0-545F98747611}"/>
          </ac:spMkLst>
        </pc:spChg>
        <pc:spChg chg="add mod ord">
          <ac:chgData name="Siragusa, Gianmarco" userId="6df33696-2e6a-41ba-bc49-d574214408bc" providerId="ADAL" clId="{325ED805-F480-4EFF-B64B-F815BB4CD031}" dt="2024-10-21T17:55:03.326" v="225" actId="167"/>
          <ac:spMkLst>
            <pc:docMk/>
            <pc:sldMk cId="2471039697" sldId="300"/>
            <ac:spMk id="21" creationId="{43F2C16C-AD79-D51F-ABFB-D6293B26C48E}"/>
          </ac:spMkLst>
        </pc:spChg>
        <pc:spChg chg="add mod">
          <ac:chgData name="Siragusa, Gianmarco" userId="6df33696-2e6a-41ba-bc49-d574214408bc" providerId="ADAL" clId="{325ED805-F480-4EFF-B64B-F815BB4CD031}" dt="2024-10-21T17:50:54.934" v="183"/>
          <ac:spMkLst>
            <pc:docMk/>
            <pc:sldMk cId="2471039697" sldId="300"/>
            <ac:spMk id="22" creationId="{551B7515-C76B-CB6C-E585-EAF4F7FCEF72}"/>
          </ac:spMkLst>
        </pc:spChg>
        <pc:spChg chg="add del mod">
          <ac:chgData name="Siragusa, Gianmarco" userId="6df33696-2e6a-41ba-bc49-d574214408bc" providerId="ADAL" clId="{325ED805-F480-4EFF-B64B-F815BB4CD031}" dt="2024-10-21T17:51:02.294" v="186" actId="478"/>
          <ac:spMkLst>
            <pc:docMk/>
            <pc:sldMk cId="2471039697" sldId="300"/>
            <ac:spMk id="23" creationId="{6D0A9BF7-8A62-A607-354D-DB9391B76FE1}"/>
          </ac:spMkLst>
        </pc:spChg>
        <pc:picChg chg="add mod">
          <ac:chgData name="Siragusa, Gianmarco" userId="6df33696-2e6a-41ba-bc49-d574214408bc" providerId="ADAL" clId="{325ED805-F480-4EFF-B64B-F815BB4CD031}" dt="2024-10-21T17:48:24.981" v="127" actId="1076"/>
          <ac:picMkLst>
            <pc:docMk/>
            <pc:sldMk cId="2471039697" sldId="300"/>
            <ac:picMk id="18" creationId="{7F7B3FC0-7C17-D110-1E34-121072548B0F}"/>
          </ac:picMkLst>
        </pc:picChg>
        <pc:picChg chg="add del mod">
          <ac:chgData name="Siragusa, Gianmarco" userId="6df33696-2e6a-41ba-bc49-d574214408bc" providerId="ADAL" clId="{325ED805-F480-4EFF-B64B-F815BB4CD031}" dt="2024-10-21T17:55:05.640" v="226" actId="478"/>
          <ac:picMkLst>
            <pc:docMk/>
            <pc:sldMk cId="2471039697" sldId="300"/>
            <ac:picMk id="25" creationId="{0766EBF7-FD28-B092-1158-642CE248D8ED}"/>
          </ac:picMkLst>
        </pc:picChg>
        <pc:picChg chg="add mod">
          <ac:chgData name="Siragusa, Gianmarco" userId="6df33696-2e6a-41ba-bc49-d574214408bc" providerId="ADAL" clId="{325ED805-F480-4EFF-B64B-F815BB4CD031}" dt="2024-10-21T17:54:37.800" v="223" actId="1076"/>
          <ac:picMkLst>
            <pc:docMk/>
            <pc:sldMk cId="2471039697" sldId="300"/>
            <ac:picMk id="27" creationId="{8E0E2731-1424-BBFD-E140-19D31C7B1831}"/>
          </ac:picMkLst>
        </pc:picChg>
        <pc:picChg chg="add mod">
          <ac:chgData name="Siragusa, Gianmarco" userId="6df33696-2e6a-41ba-bc49-d574214408bc" providerId="ADAL" clId="{325ED805-F480-4EFF-B64B-F815BB4CD031}" dt="2024-10-21T17:56:32.584" v="233" actId="207"/>
          <ac:picMkLst>
            <pc:docMk/>
            <pc:sldMk cId="2471039697" sldId="300"/>
            <ac:picMk id="29" creationId="{F3489BB9-E734-2F4B-5A0B-516C23DE440B}"/>
          </ac:picMkLst>
        </pc:picChg>
      </pc:sldChg>
      <pc:sldChg chg="addSp delSp modSp mod">
        <pc:chgData name="Siragusa, Gianmarco" userId="6df33696-2e6a-41ba-bc49-d574214408bc" providerId="ADAL" clId="{325ED805-F480-4EFF-B64B-F815BB4CD031}" dt="2024-10-22T13:40:45.372" v="1734" actId="207"/>
        <pc:sldMkLst>
          <pc:docMk/>
          <pc:sldMk cId="1755712878" sldId="301"/>
        </pc:sldMkLst>
        <pc:spChg chg="del">
          <ac:chgData name="Siragusa, Gianmarco" userId="6df33696-2e6a-41ba-bc49-d574214408bc" providerId="ADAL" clId="{325ED805-F480-4EFF-B64B-F815BB4CD031}" dt="2024-10-21T18:01:30.387" v="295" actId="478"/>
          <ac:spMkLst>
            <pc:docMk/>
            <pc:sldMk cId="1755712878" sldId="301"/>
            <ac:spMk id="4" creationId="{49858CB1-6C6B-B0CF-0A89-BEB640BD957F}"/>
          </ac:spMkLst>
        </pc:spChg>
        <pc:spChg chg="del">
          <ac:chgData name="Siragusa, Gianmarco" userId="6df33696-2e6a-41ba-bc49-d574214408bc" providerId="ADAL" clId="{325ED805-F480-4EFF-B64B-F815BB4CD031}" dt="2024-10-21T18:03:09.970" v="327" actId="478"/>
          <ac:spMkLst>
            <pc:docMk/>
            <pc:sldMk cId="1755712878" sldId="301"/>
            <ac:spMk id="5" creationId="{6CF9FB08-0DEF-F783-34EF-C87FA3B4E8AA}"/>
          </ac:spMkLst>
        </pc:spChg>
        <pc:spChg chg="del">
          <ac:chgData name="Siragusa, Gianmarco" userId="6df33696-2e6a-41ba-bc49-d574214408bc" providerId="ADAL" clId="{325ED805-F480-4EFF-B64B-F815BB4CD031}" dt="2024-10-21T17:52:39.703" v="208" actId="478"/>
          <ac:spMkLst>
            <pc:docMk/>
            <pc:sldMk cId="1755712878" sldId="301"/>
            <ac:spMk id="6" creationId="{2A4CB62C-733E-6976-65FA-2D3C4BE655C3}"/>
          </ac:spMkLst>
        </pc:spChg>
        <pc:spChg chg="add mod">
          <ac:chgData name="Siragusa, Gianmarco" userId="6df33696-2e6a-41ba-bc49-d574214408bc" providerId="ADAL" clId="{325ED805-F480-4EFF-B64B-F815BB4CD031}" dt="2024-10-21T17:52:53.742" v="216" actId="14100"/>
          <ac:spMkLst>
            <pc:docMk/>
            <pc:sldMk cId="1755712878" sldId="301"/>
            <ac:spMk id="7" creationId="{6055D606-2310-C434-6AA7-71C03DE5F705}"/>
          </ac:spMkLst>
        </pc:spChg>
        <pc:spChg chg="add del mod">
          <ac:chgData name="Siragusa, Gianmarco" userId="6df33696-2e6a-41ba-bc49-d574214408bc" providerId="ADAL" clId="{325ED805-F480-4EFF-B64B-F815BB4CD031}" dt="2024-10-21T17:52:40.817" v="209" actId="478"/>
          <ac:spMkLst>
            <pc:docMk/>
            <pc:sldMk cId="1755712878" sldId="301"/>
            <ac:spMk id="9" creationId="{59230094-2FA7-7F6A-159A-A17D3B27DC66}"/>
          </ac:spMkLst>
        </pc:spChg>
        <pc:spChg chg="add mod">
          <ac:chgData name="Siragusa, Gianmarco" userId="6df33696-2e6a-41ba-bc49-d574214408bc" providerId="ADAL" clId="{325ED805-F480-4EFF-B64B-F815BB4CD031}" dt="2024-10-21T17:57:11.896" v="234"/>
          <ac:spMkLst>
            <pc:docMk/>
            <pc:sldMk cId="1755712878" sldId="301"/>
            <ac:spMk id="10" creationId="{4A066FB7-5FD5-EAC7-5186-CED3BC7BC31E}"/>
          </ac:spMkLst>
        </pc:spChg>
        <pc:spChg chg="add del mod">
          <ac:chgData name="Siragusa, Gianmarco" userId="6df33696-2e6a-41ba-bc49-d574214408bc" providerId="ADAL" clId="{325ED805-F480-4EFF-B64B-F815BB4CD031}" dt="2024-10-21T18:03:40.676" v="334" actId="478"/>
          <ac:spMkLst>
            <pc:docMk/>
            <pc:sldMk cId="1755712878" sldId="301"/>
            <ac:spMk id="11" creationId="{EA91D7DC-A8CA-D411-F0FB-396EF94E7652}"/>
          </ac:spMkLst>
        </pc:spChg>
        <pc:spChg chg="add mod">
          <ac:chgData name="Siragusa, Gianmarco" userId="6df33696-2e6a-41ba-bc49-d574214408bc" providerId="ADAL" clId="{325ED805-F480-4EFF-B64B-F815BB4CD031}" dt="2024-10-22T13:40:45.372" v="1734" actId="207"/>
          <ac:spMkLst>
            <pc:docMk/>
            <pc:sldMk cId="1755712878" sldId="301"/>
            <ac:spMk id="14" creationId="{BD6AA598-8F38-D034-AF0A-C72345140257}"/>
          </ac:spMkLst>
        </pc:spChg>
        <pc:spChg chg="add del mod">
          <ac:chgData name="Siragusa, Gianmarco" userId="6df33696-2e6a-41ba-bc49-d574214408bc" providerId="ADAL" clId="{325ED805-F480-4EFF-B64B-F815BB4CD031}" dt="2024-10-21T18:02:18.213" v="312" actId="478"/>
          <ac:spMkLst>
            <pc:docMk/>
            <pc:sldMk cId="1755712878" sldId="301"/>
            <ac:spMk id="15" creationId="{DA80A2C9-1960-D587-0106-7E4F833C1703}"/>
          </ac:spMkLst>
        </pc:spChg>
        <pc:spChg chg="add mod">
          <ac:chgData name="Siragusa, Gianmarco" userId="6df33696-2e6a-41ba-bc49-d574214408bc" providerId="ADAL" clId="{325ED805-F480-4EFF-B64B-F815BB4CD031}" dt="2024-10-22T13:40:45.372" v="1734" actId="207"/>
          <ac:spMkLst>
            <pc:docMk/>
            <pc:sldMk cId="1755712878" sldId="301"/>
            <ac:spMk id="16" creationId="{DC3B8414-AF8B-A9F6-2586-488914391627}"/>
          </ac:spMkLst>
        </pc:spChg>
        <pc:spChg chg="add del mod">
          <ac:chgData name="Siragusa, Gianmarco" userId="6df33696-2e6a-41ba-bc49-d574214408bc" providerId="ADAL" clId="{325ED805-F480-4EFF-B64B-F815BB4CD031}" dt="2024-10-21T18:02:30.944" v="316" actId="478"/>
          <ac:spMkLst>
            <pc:docMk/>
            <pc:sldMk cId="1755712878" sldId="301"/>
            <ac:spMk id="17" creationId="{9C98DF06-041F-BBF9-E3B3-08DBE1140E53}"/>
          </ac:spMkLst>
        </pc:spChg>
        <pc:spChg chg="add mod">
          <ac:chgData name="Siragusa, Gianmarco" userId="6df33696-2e6a-41ba-bc49-d574214408bc" providerId="ADAL" clId="{325ED805-F480-4EFF-B64B-F815BB4CD031}" dt="2024-10-22T13:40:45.372" v="1734" actId="207"/>
          <ac:spMkLst>
            <pc:docMk/>
            <pc:sldMk cId="1755712878" sldId="301"/>
            <ac:spMk id="18" creationId="{B31B5715-6F24-7B13-3E63-FDB1C1AD51A4}"/>
          </ac:spMkLst>
        </pc:spChg>
        <pc:spChg chg="add del mod">
          <ac:chgData name="Siragusa, Gianmarco" userId="6df33696-2e6a-41ba-bc49-d574214408bc" providerId="ADAL" clId="{325ED805-F480-4EFF-B64B-F815BB4CD031}" dt="2024-10-21T18:02:58.654" v="323" actId="478"/>
          <ac:spMkLst>
            <pc:docMk/>
            <pc:sldMk cId="1755712878" sldId="301"/>
            <ac:spMk id="19" creationId="{FB956C06-F400-1203-25A6-78FBE3F225EA}"/>
          </ac:spMkLst>
        </pc:spChg>
        <pc:spChg chg="add mod">
          <ac:chgData name="Siragusa, Gianmarco" userId="6df33696-2e6a-41ba-bc49-d574214408bc" providerId="ADAL" clId="{325ED805-F480-4EFF-B64B-F815BB4CD031}" dt="2024-10-22T08:00:21.669" v="906" actId="207"/>
          <ac:spMkLst>
            <pc:docMk/>
            <pc:sldMk cId="1755712878" sldId="301"/>
            <ac:spMk id="28" creationId="{643AD272-76F2-0ABE-E3DF-817813CAA58F}"/>
          </ac:spMkLst>
        </pc:spChg>
        <pc:spChg chg="add del mod">
          <ac:chgData name="Siragusa, Gianmarco" userId="6df33696-2e6a-41ba-bc49-d574214408bc" providerId="ADAL" clId="{325ED805-F480-4EFF-B64B-F815BB4CD031}" dt="2024-10-21T18:05:00.221" v="353" actId="478"/>
          <ac:spMkLst>
            <pc:docMk/>
            <pc:sldMk cId="1755712878" sldId="301"/>
            <ac:spMk id="29" creationId="{C759DF70-2C2C-E1B4-963B-FC11122FD05B}"/>
          </ac:spMkLst>
        </pc:spChg>
        <pc:spChg chg="add mod">
          <ac:chgData name="Siragusa, Gianmarco" userId="6df33696-2e6a-41ba-bc49-d574214408bc" providerId="ADAL" clId="{325ED805-F480-4EFF-B64B-F815BB4CD031}" dt="2024-10-21T20:32:58.402" v="794" actId="1076"/>
          <ac:spMkLst>
            <pc:docMk/>
            <pc:sldMk cId="1755712878" sldId="301"/>
            <ac:spMk id="31" creationId="{DA375D5A-EEEE-6309-A36F-9E3C78787F83}"/>
          </ac:spMkLst>
        </pc:spChg>
        <pc:spChg chg="add mod">
          <ac:chgData name="Siragusa, Gianmarco" userId="6df33696-2e6a-41ba-bc49-d574214408bc" providerId="ADAL" clId="{325ED805-F480-4EFF-B64B-F815BB4CD031}" dt="2024-10-21T20:32:58.402" v="794" actId="1076"/>
          <ac:spMkLst>
            <pc:docMk/>
            <pc:sldMk cId="1755712878" sldId="301"/>
            <ac:spMk id="32" creationId="{6767922B-3787-C8E9-D057-F306CCF57600}"/>
          </ac:spMkLst>
        </pc:spChg>
        <pc:spChg chg="add mod">
          <ac:chgData name="Siragusa, Gianmarco" userId="6df33696-2e6a-41ba-bc49-d574214408bc" providerId="ADAL" clId="{325ED805-F480-4EFF-B64B-F815BB4CD031}" dt="2024-10-22T07:55:38.529" v="820" actId="1035"/>
          <ac:spMkLst>
            <pc:docMk/>
            <pc:sldMk cId="1755712878" sldId="301"/>
            <ac:spMk id="33" creationId="{99C3B26B-0011-6CEC-6809-AF0CC1A40591}"/>
          </ac:spMkLst>
        </pc:spChg>
        <pc:spChg chg="add mod">
          <ac:chgData name="Siragusa, Gianmarco" userId="6df33696-2e6a-41ba-bc49-d574214408bc" providerId="ADAL" clId="{325ED805-F480-4EFF-B64B-F815BB4CD031}" dt="2024-10-22T07:55:41.155" v="822" actId="1035"/>
          <ac:spMkLst>
            <pc:docMk/>
            <pc:sldMk cId="1755712878" sldId="301"/>
            <ac:spMk id="34" creationId="{70C5247E-C46F-FE40-FB09-9DF600CE64A8}"/>
          </ac:spMkLst>
        </pc:spChg>
        <pc:spChg chg="add mod">
          <ac:chgData name="Siragusa, Gianmarco" userId="6df33696-2e6a-41ba-bc49-d574214408bc" providerId="ADAL" clId="{325ED805-F480-4EFF-B64B-F815BB4CD031}" dt="2024-10-22T08:00:21.669" v="906" actId="207"/>
          <ac:spMkLst>
            <pc:docMk/>
            <pc:sldMk cId="1755712878" sldId="301"/>
            <ac:spMk id="39" creationId="{8B7285A8-CD54-414D-E065-93861F8A69E6}"/>
          </ac:spMkLst>
        </pc:spChg>
        <pc:spChg chg="add mod">
          <ac:chgData name="Siragusa, Gianmarco" userId="6df33696-2e6a-41ba-bc49-d574214408bc" providerId="ADAL" clId="{325ED805-F480-4EFF-B64B-F815BB4CD031}" dt="2024-10-21T20:32:58.402" v="794" actId="1076"/>
          <ac:spMkLst>
            <pc:docMk/>
            <pc:sldMk cId="1755712878" sldId="301"/>
            <ac:spMk id="40" creationId="{0EA08890-6F8E-38C6-FAB5-5EBAA3BE786C}"/>
          </ac:spMkLst>
        </pc:spChg>
        <pc:spChg chg="add mod">
          <ac:chgData name="Siragusa, Gianmarco" userId="6df33696-2e6a-41ba-bc49-d574214408bc" providerId="ADAL" clId="{325ED805-F480-4EFF-B64B-F815BB4CD031}" dt="2024-10-22T07:55:43.410" v="823" actId="1035"/>
          <ac:spMkLst>
            <pc:docMk/>
            <pc:sldMk cId="1755712878" sldId="301"/>
            <ac:spMk id="41" creationId="{6EEDC998-BA49-D2A0-4757-832CEC4005E2}"/>
          </ac:spMkLst>
        </pc:spChg>
        <pc:spChg chg="add del mod">
          <ac:chgData name="Siragusa, Gianmarco" userId="6df33696-2e6a-41ba-bc49-d574214408bc" providerId="ADAL" clId="{325ED805-F480-4EFF-B64B-F815BB4CD031}" dt="2024-10-21T18:19:15.724" v="658" actId="478"/>
          <ac:spMkLst>
            <pc:docMk/>
            <pc:sldMk cId="1755712878" sldId="301"/>
            <ac:spMk id="47" creationId="{AE36406D-EC40-FC20-38AB-F45561615374}"/>
          </ac:spMkLst>
        </pc:spChg>
        <pc:picChg chg="add del mod">
          <ac:chgData name="Siragusa, Gianmarco" userId="6df33696-2e6a-41ba-bc49-d574214408bc" providerId="ADAL" clId="{325ED805-F480-4EFF-B64B-F815BB4CD031}" dt="2024-10-21T18:05:22.163" v="364" actId="478"/>
          <ac:picMkLst>
            <pc:docMk/>
            <pc:sldMk cId="1755712878" sldId="301"/>
            <ac:picMk id="35" creationId="{E2A7E0D5-3A8D-DA44-DB46-D730AB29CA28}"/>
          </ac:picMkLst>
        </pc:picChg>
        <pc:picChg chg="add del mod">
          <ac:chgData name="Siragusa, Gianmarco" userId="6df33696-2e6a-41ba-bc49-d574214408bc" providerId="ADAL" clId="{325ED805-F480-4EFF-B64B-F815BB4CD031}" dt="2024-10-21T18:05:22.163" v="364" actId="478"/>
          <ac:picMkLst>
            <pc:docMk/>
            <pc:sldMk cId="1755712878" sldId="301"/>
            <ac:picMk id="36" creationId="{EFDE2B03-782A-7F37-BF97-D08F8FF8CC47}"/>
          </ac:picMkLst>
        </pc:picChg>
        <pc:picChg chg="add del mod">
          <ac:chgData name="Siragusa, Gianmarco" userId="6df33696-2e6a-41ba-bc49-d574214408bc" providerId="ADAL" clId="{325ED805-F480-4EFF-B64B-F815BB4CD031}" dt="2024-10-21T18:07:05.304" v="393" actId="478"/>
          <ac:picMkLst>
            <pc:docMk/>
            <pc:sldMk cId="1755712878" sldId="301"/>
            <ac:picMk id="37" creationId="{EAC685A0-7FF5-60A2-72D8-4873B9866B8C}"/>
          </ac:picMkLst>
        </pc:picChg>
        <pc:picChg chg="add del mod">
          <ac:chgData name="Siragusa, Gianmarco" userId="6df33696-2e6a-41ba-bc49-d574214408bc" providerId="ADAL" clId="{325ED805-F480-4EFF-B64B-F815BB4CD031}" dt="2024-10-21T18:07:13.254" v="394" actId="478"/>
          <ac:picMkLst>
            <pc:docMk/>
            <pc:sldMk cId="1755712878" sldId="301"/>
            <ac:picMk id="38" creationId="{07ADFB83-B2EE-609B-C6AB-C659ADB6D996}"/>
          </ac:picMkLst>
        </pc:picChg>
        <pc:picChg chg="add del mod">
          <ac:chgData name="Siragusa, Gianmarco" userId="6df33696-2e6a-41ba-bc49-d574214408bc" providerId="ADAL" clId="{325ED805-F480-4EFF-B64B-F815BB4CD031}" dt="2024-10-21T18:07:14.513" v="395" actId="478"/>
          <ac:picMkLst>
            <pc:docMk/>
            <pc:sldMk cId="1755712878" sldId="301"/>
            <ac:picMk id="42" creationId="{2AA93851-D3C6-1D31-DC05-C09E5FF3D008}"/>
          </ac:picMkLst>
        </pc:picChg>
        <pc:picChg chg="add mod">
          <ac:chgData name="Siragusa, Gianmarco" userId="6df33696-2e6a-41ba-bc49-d574214408bc" providerId="ADAL" clId="{325ED805-F480-4EFF-B64B-F815BB4CD031}" dt="2024-10-21T20:32:58.402" v="794" actId="1076"/>
          <ac:picMkLst>
            <pc:docMk/>
            <pc:sldMk cId="1755712878" sldId="301"/>
            <ac:picMk id="44" creationId="{D6A370F5-5397-EFCA-477E-D6F08649CD9E}"/>
          </ac:picMkLst>
        </pc:picChg>
        <pc:picChg chg="add mod">
          <ac:chgData name="Siragusa, Gianmarco" userId="6df33696-2e6a-41ba-bc49-d574214408bc" providerId="ADAL" clId="{325ED805-F480-4EFF-B64B-F815BB4CD031}" dt="2024-10-21T20:32:58.402" v="794" actId="1076"/>
          <ac:picMkLst>
            <pc:docMk/>
            <pc:sldMk cId="1755712878" sldId="301"/>
            <ac:picMk id="45" creationId="{2BE3E692-9F0B-1445-2EF5-078E534DD26F}"/>
          </ac:picMkLst>
        </pc:picChg>
        <pc:picChg chg="add mod">
          <ac:chgData name="Siragusa, Gianmarco" userId="6df33696-2e6a-41ba-bc49-d574214408bc" providerId="ADAL" clId="{325ED805-F480-4EFF-B64B-F815BB4CD031}" dt="2024-10-21T20:32:58.402" v="794" actId="1076"/>
          <ac:picMkLst>
            <pc:docMk/>
            <pc:sldMk cId="1755712878" sldId="301"/>
            <ac:picMk id="46" creationId="{A5465CC0-D048-B237-57F2-E6A8A49D1C68}"/>
          </ac:picMkLst>
        </pc:picChg>
        <pc:cxnChg chg="add mod">
          <ac:chgData name="Siragusa, Gianmarco" userId="6df33696-2e6a-41ba-bc49-d574214408bc" providerId="ADAL" clId="{325ED805-F480-4EFF-B64B-F815BB4CD031}" dt="2024-10-21T20:32:52.864" v="793" actId="14100"/>
          <ac:cxnSpMkLst>
            <pc:docMk/>
            <pc:sldMk cId="1755712878" sldId="301"/>
            <ac:cxnSpMk id="12" creationId="{201F4011-85E4-446B-FC00-BB6AC14E804A}"/>
          </ac:cxnSpMkLst>
        </pc:cxnChg>
        <pc:cxnChg chg="add mod">
          <ac:chgData name="Siragusa, Gianmarco" userId="6df33696-2e6a-41ba-bc49-d574214408bc" providerId="ADAL" clId="{325ED805-F480-4EFF-B64B-F815BB4CD031}" dt="2024-10-21T20:32:52.864" v="793" actId="14100"/>
          <ac:cxnSpMkLst>
            <pc:docMk/>
            <pc:sldMk cId="1755712878" sldId="301"/>
            <ac:cxnSpMk id="13" creationId="{295414B9-C861-6857-63E7-7FFDFC8F3916}"/>
          </ac:cxnSpMkLst>
        </pc:cxnChg>
        <pc:cxnChg chg="add mod">
          <ac:chgData name="Siragusa, Gianmarco" userId="6df33696-2e6a-41ba-bc49-d574214408bc" providerId="ADAL" clId="{325ED805-F480-4EFF-B64B-F815BB4CD031}" dt="2024-10-21T18:03:57.999" v="347" actId="1076"/>
          <ac:cxnSpMkLst>
            <pc:docMk/>
            <pc:sldMk cId="1755712878" sldId="301"/>
            <ac:cxnSpMk id="27" creationId="{302975E3-B229-F26B-70FF-C310393E1E62}"/>
          </ac:cxnSpMkLst>
        </pc:cxnChg>
        <pc:cxnChg chg="add mod">
          <ac:chgData name="Siragusa, Gianmarco" userId="6df33696-2e6a-41ba-bc49-d574214408bc" providerId="ADAL" clId="{325ED805-F480-4EFF-B64B-F815BB4CD031}" dt="2024-10-21T20:32:58.402" v="794" actId="1076"/>
          <ac:cxnSpMkLst>
            <pc:docMk/>
            <pc:sldMk cId="1755712878" sldId="301"/>
            <ac:cxnSpMk id="30" creationId="{765B467C-313B-5CE3-219D-B38FB3937E56}"/>
          </ac:cxnSpMkLst>
        </pc:cxnChg>
      </pc:sldChg>
      <pc:sldChg chg="addSp delSp modSp mod">
        <pc:chgData name="Siragusa, Gianmarco" userId="6df33696-2e6a-41ba-bc49-d574214408bc" providerId="ADAL" clId="{325ED805-F480-4EFF-B64B-F815BB4CD031}" dt="2024-10-22T08:13:31.760" v="982"/>
        <pc:sldMkLst>
          <pc:docMk/>
          <pc:sldMk cId="1935209008" sldId="302"/>
        </pc:sldMkLst>
        <pc:spChg chg="add mod">
          <ac:chgData name="Siragusa, Gianmarco" userId="6df33696-2e6a-41ba-bc49-d574214408bc" providerId="ADAL" clId="{325ED805-F480-4EFF-B64B-F815BB4CD031}" dt="2024-10-22T08:13:31.760" v="982"/>
          <ac:spMkLst>
            <pc:docMk/>
            <pc:sldMk cId="1935209008" sldId="302"/>
            <ac:spMk id="4" creationId="{2A48D264-7238-1D54-BB24-CFFE63E08B55}"/>
          </ac:spMkLst>
        </pc:spChg>
        <pc:spChg chg="del mod">
          <ac:chgData name="Siragusa, Gianmarco" userId="6df33696-2e6a-41ba-bc49-d574214408bc" providerId="ADAL" clId="{325ED805-F480-4EFF-B64B-F815BB4CD031}" dt="2024-10-21T20:33:48.490" v="798" actId="478"/>
          <ac:spMkLst>
            <pc:docMk/>
            <pc:sldMk cId="1935209008" sldId="302"/>
            <ac:spMk id="5" creationId="{0B521BCF-69EA-4844-44EC-F04506F70E31}"/>
          </ac:spMkLst>
        </pc:spChg>
        <pc:spChg chg="del mod">
          <ac:chgData name="Siragusa, Gianmarco" userId="6df33696-2e6a-41ba-bc49-d574214408bc" providerId="ADAL" clId="{325ED805-F480-4EFF-B64B-F815BB4CD031}" dt="2024-10-21T18:11:13.859" v="457" actId="478"/>
          <ac:spMkLst>
            <pc:docMk/>
            <pc:sldMk cId="1935209008" sldId="302"/>
            <ac:spMk id="6" creationId="{9EACCDAD-1294-AE8B-4A80-CD521320264E}"/>
          </ac:spMkLst>
        </pc:spChg>
        <pc:spChg chg="add del mod">
          <ac:chgData name="Siragusa, Gianmarco" userId="6df33696-2e6a-41ba-bc49-d574214408bc" providerId="ADAL" clId="{325ED805-F480-4EFF-B64B-F815BB4CD031}" dt="2024-10-21T18:11:15.676" v="458" actId="478"/>
          <ac:spMkLst>
            <pc:docMk/>
            <pc:sldMk cId="1935209008" sldId="302"/>
            <ac:spMk id="8" creationId="{F84E2FCC-4D1F-965D-9F81-C0D10F73342B}"/>
          </ac:spMkLst>
        </pc:spChg>
        <pc:spChg chg="add del mod">
          <ac:chgData name="Siragusa, Gianmarco" userId="6df33696-2e6a-41ba-bc49-d574214408bc" providerId="ADAL" clId="{325ED805-F480-4EFF-B64B-F815BB4CD031}" dt="2024-10-21T18:18:00.408" v="630" actId="478"/>
          <ac:spMkLst>
            <pc:docMk/>
            <pc:sldMk cId="1935209008" sldId="302"/>
            <ac:spMk id="9" creationId="{2AB81E4F-2042-9413-B7E4-FA9530249CDA}"/>
          </ac:spMkLst>
        </pc:spChg>
        <pc:spChg chg="add mod ord">
          <ac:chgData name="Siragusa, Gianmarco" userId="6df33696-2e6a-41ba-bc49-d574214408bc" providerId="ADAL" clId="{325ED805-F480-4EFF-B64B-F815BB4CD031}" dt="2024-10-21T20:20:26.930" v="710" actId="1037"/>
          <ac:spMkLst>
            <pc:docMk/>
            <pc:sldMk cId="1935209008" sldId="302"/>
            <ac:spMk id="10" creationId="{E3AE9EC2-36B1-70D4-5D1F-A26B308024B4}"/>
          </ac:spMkLst>
        </pc:spChg>
        <pc:spChg chg="add mod">
          <ac:chgData name="Siragusa, Gianmarco" userId="6df33696-2e6a-41ba-bc49-d574214408bc" providerId="ADAL" clId="{325ED805-F480-4EFF-B64B-F815BB4CD031}" dt="2024-10-21T20:33:31.173" v="795"/>
          <ac:spMkLst>
            <pc:docMk/>
            <pc:sldMk cId="1935209008" sldId="302"/>
            <ac:spMk id="11" creationId="{C41655F3-7F6C-1A12-E4F5-C2F610687A6C}"/>
          </ac:spMkLst>
        </pc:spChg>
        <pc:spChg chg="add mod">
          <ac:chgData name="Siragusa, Gianmarco" userId="6df33696-2e6a-41ba-bc49-d574214408bc" providerId="ADAL" clId="{325ED805-F480-4EFF-B64B-F815BB4CD031}" dt="2024-10-21T20:33:31.173" v="795"/>
          <ac:spMkLst>
            <pc:docMk/>
            <pc:sldMk cId="1935209008" sldId="302"/>
            <ac:spMk id="12" creationId="{F254AB9D-F711-862D-FC3A-79B1FCA59035}"/>
          </ac:spMkLst>
        </pc:spChg>
        <pc:spChg chg="add del mod">
          <ac:chgData name="Siragusa, Gianmarco" userId="6df33696-2e6a-41ba-bc49-d574214408bc" providerId="ADAL" clId="{325ED805-F480-4EFF-B64B-F815BB4CD031}" dt="2024-10-22T07:59:25.230" v="899" actId="21"/>
          <ac:spMkLst>
            <pc:docMk/>
            <pc:sldMk cId="1935209008" sldId="302"/>
            <ac:spMk id="14" creationId="{40F18C32-B296-A632-81B1-F17F9B75F81F}"/>
          </ac:spMkLst>
        </pc:spChg>
        <pc:spChg chg="add del mod">
          <ac:chgData name="Siragusa, Gianmarco" userId="6df33696-2e6a-41ba-bc49-d574214408bc" providerId="ADAL" clId="{325ED805-F480-4EFF-B64B-F815BB4CD031}" dt="2024-10-22T07:57:05.607" v="835" actId="478"/>
          <ac:spMkLst>
            <pc:docMk/>
            <pc:sldMk cId="1935209008" sldId="302"/>
            <ac:spMk id="15" creationId="{42F4F7E8-69C9-231A-77A4-542FD3A900C5}"/>
          </ac:spMkLst>
        </pc:spChg>
        <pc:spChg chg="add mod ord">
          <ac:chgData name="Siragusa, Gianmarco" userId="6df33696-2e6a-41ba-bc49-d574214408bc" providerId="ADAL" clId="{325ED805-F480-4EFF-B64B-F815BB4CD031}" dt="2024-10-22T08:00:05.987" v="904" actId="2711"/>
          <ac:spMkLst>
            <pc:docMk/>
            <pc:sldMk cId="1935209008" sldId="302"/>
            <ac:spMk id="18" creationId="{FFC52E45-0B47-86B7-E3B2-602BA1D6488F}"/>
          </ac:spMkLst>
        </pc:spChg>
        <pc:spChg chg="mod">
          <ac:chgData name="Siragusa, Gianmarco" userId="6df33696-2e6a-41ba-bc49-d574214408bc" providerId="ADAL" clId="{325ED805-F480-4EFF-B64B-F815BB4CD031}" dt="2024-10-22T08:00:11.293" v="905" actId="2711"/>
          <ac:spMkLst>
            <pc:docMk/>
            <pc:sldMk cId="1935209008" sldId="302"/>
            <ac:spMk id="20" creationId="{34820B93-C8CA-D34B-FC2E-3EF4D82DED55}"/>
          </ac:spMkLst>
        </pc:spChg>
        <pc:spChg chg="mod">
          <ac:chgData name="Siragusa, Gianmarco" userId="6df33696-2e6a-41ba-bc49-d574214408bc" providerId="ADAL" clId="{325ED805-F480-4EFF-B64B-F815BB4CD031}" dt="2024-10-22T08:00:05.987" v="904" actId="2711"/>
          <ac:spMkLst>
            <pc:docMk/>
            <pc:sldMk cId="1935209008" sldId="302"/>
            <ac:spMk id="21" creationId="{80BD8C5A-CD03-F2CE-1AEE-2C880480326C}"/>
          </ac:spMkLst>
        </pc:spChg>
        <pc:spChg chg="add mod ord">
          <ac:chgData name="Siragusa, Gianmarco" userId="6df33696-2e6a-41ba-bc49-d574214408bc" providerId="ADAL" clId="{325ED805-F480-4EFF-B64B-F815BB4CD031}" dt="2024-10-22T07:59:39.496" v="902" actId="167"/>
          <ac:spMkLst>
            <pc:docMk/>
            <pc:sldMk cId="1935209008" sldId="302"/>
            <ac:spMk id="23" creationId="{6C46C842-1958-9EB1-B90E-6A5E1BCEAC20}"/>
          </ac:spMkLst>
        </pc:spChg>
        <pc:grpChg chg="add mod">
          <ac:chgData name="Siragusa, Gianmarco" userId="6df33696-2e6a-41ba-bc49-d574214408bc" providerId="ADAL" clId="{325ED805-F480-4EFF-B64B-F815BB4CD031}" dt="2024-10-22T07:58:39.072" v="893" actId="164"/>
          <ac:grpSpMkLst>
            <pc:docMk/>
            <pc:sldMk cId="1935209008" sldId="302"/>
            <ac:grpSpMk id="19" creationId="{764CA7CB-FD87-49C4-E89D-6D449CCC2401}"/>
          </ac:grpSpMkLst>
        </pc:grpChg>
        <pc:grpChg chg="add mod">
          <ac:chgData name="Siragusa, Gianmarco" userId="6df33696-2e6a-41ba-bc49-d574214408bc" providerId="ADAL" clId="{325ED805-F480-4EFF-B64B-F815BB4CD031}" dt="2024-10-22T07:59:29.635" v="900" actId="1076"/>
          <ac:grpSpMkLst>
            <pc:docMk/>
            <pc:sldMk cId="1935209008" sldId="302"/>
            <ac:grpSpMk id="22" creationId="{9D27951A-8B37-7D93-C44A-CC2F6E2522F8}"/>
          </ac:grpSpMkLst>
        </pc:grpChg>
        <pc:picChg chg="add mod">
          <ac:chgData name="Siragusa, Gianmarco" userId="6df33696-2e6a-41ba-bc49-d574214408bc" providerId="ADAL" clId="{325ED805-F480-4EFF-B64B-F815BB4CD031}" dt="2024-10-21T20:33:31.173" v="795"/>
          <ac:picMkLst>
            <pc:docMk/>
            <pc:sldMk cId="1935209008" sldId="302"/>
            <ac:picMk id="13" creationId="{86D0F10D-F7A6-4111-10A4-E6AC773E2D69}"/>
          </ac:picMkLst>
        </pc:picChg>
        <pc:picChg chg="add del mod">
          <ac:chgData name="Siragusa, Gianmarco" userId="6df33696-2e6a-41ba-bc49-d574214408bc" providerId="ADAL" clId="{325ED805-F480-4EFF-B64B-F815BB4CD031}" dt="2024-10-22T07:57:06.507" v="836" actId="478"/>
          <ac:picMkLst>
            <pc:docMk/>
            <pc:sldMk cId="1935209008" sldId="302"/>
            <ac:picMk id="16" creationId="{D0CC430D-A741-AA22-4965-7542C8EF5A1A}"/>
          </ac:picMkLst>
        </pc:picChg>
        <pc:picChg chg="mod">
          <ac:chgData name="Siragusa, Gianmarco" userId="6df33696-2e6a-41ba-bc49-d574214408bc" providerId="ADAL" clId="{325ED805-F480-4EFF-B64B-F815BB4CD031}" dt="2024-10-22T07:56:47.114" v="827" actId="14100"/>
          <ac:picMkLst>
            <pc:docMk/>
            <pc:sldMk cId="1935209008" sldId="302"/>
            <ac:picMk id="1025" creationId="{80D19E85-211E-EFFB-1C15-79FB0D3A0934}"/>
          </ac:picMkLst>
        </pc:picChg>
      </pc:sldChg>
      <pc:sldChg chg="addSp delSp modSp del mod">
        <pc:chgData name="Siragusa, Gianmarco" userId="6df33696-2e6a-41ba-bc49-d574214408bc" providerId="ADAL" clId="{325ED805-F480-4EFF-B64B-F815BB4CD031}" dt="2024-10-22T08:14:57.386" v="1005" actId="47"/>
        <pc:sldMkLst>
          <pc:docMk/>
          <pc:sldMk cId="4000016010" sldId="303"/>
        </pc:sldMkLst>
        <pc:spChg chg="add mod">
          <ac:chgData name="Siragusa, Gianmarco" userId="6df33696-2e6a-41ba-bc49-d574214408bc" providerId="ADAL" clId="{325ED805-F480-4EFF-B64B-F815BB4CD031}" dt="2024-10-21T18:12:59.700" v="500" actId="20577"/>
          <ac:spMkLst>
            <pc:docMk/>
            <pc:sldMk cId="4000016010" sldId="303"/>
            <ac:spMk id="4" creationId="{B4514431-27CD-5F19-AD80-005CBA0A2011}"/>
          </ac:spMkLst>
        </pc:spChg>
        <pc:spChg chg="del mod">
          <ac:chgData name="Siragusa, Gianmarco" userId="6df33696-2e6a-41ba-bc49-d574214408bc" providerId="ADAL" clId="{325ED805-F480-4EFF-B64B-F815BB4CD031}" dt="2024-10-21T20:24:17.899" v="728" actId="478"/>
          <ac:spMkLst>
            <pc:docMk/>
            <pc:sldMk cId="4000016010" sldId="303"/>
            <ac:spMk id="5" creationId="{C2BB15D6-6CC8-151E-9E17-6BD6088D81F2}"/>
          </ac:spMkLst>
        </pc:spChg>
        <pc:spChg chg="del">
          <ac:chgData name="Siragusa, Gianmarco" userId="6df33696-2e6a-41ba-bc49-d574214408bc" providerId="ADAL" clId="{325ED805-F480-4EFF-B64B-F815BB4CD031}" dt="2024-10-21T18:12:54.968" v="497" actId="478"/>
          <ac:spMkLst>
            <pc:docMk/>
            <pc:sldMk cId="4000016010" sldId="303"/>
            <ac:spMk id="6" creationId="{2C631FE3-7E0E-92B2-172A-7E9911FE3035}"/>
          </ac:spMkLst>
        </pc:spChg>
        <pc:spChg chg="add del mod">
          <ac:chgData name="Siragusa, Gianmarco" userId="6df33696-2e6a-41ba-bc49-d574214408bc" providerId="ADAL" clId="{325ED805-F480-4EFF-B64B-F815BB4CD031}" dt="2024-10-21T18:12:56.769" v="498" actId="478"/>
          <ac:spMkLst>
            <pc:docMk/>
            <pc:sldMk cId="4000016010" sldId="303"/>
            <ac:spMk id="8" creationId="{9DB4332F-6976-5082-0A13-9574B4FB99FB}"/>
          </ac:spMkLst>
        </pc:spChg>
        <pc:spChg chg="add mod">
          <ac:chgData name="Siragusa, Gianmarco" userId="6df33696-2e6a-41ba-bc49-d574214408bc" providerId="ADAL" clId="{325ED805-F480-4EFF-B64B-F815BB4CD031}" dt="2024-10-21T20:23:51.461" v="722"/>
          <ac:spMkLst>
            <pc:docMk/>
            <pc:sldMk cId="4000016010" sldId="303"/>
            <ac:spMk id="9" creationId="{BCF52917-A1EB-E788-CD99-7C0D09987FCC}"/>
          </ac:spMkLst>
        </pc:spChg>
        <pc:spChg chg="add mod">
          <ac:chgData name="Siragusa, Gianmarco" userId="6df33696-2e6a-41ba-bc49-d574214408bc" providerId="ADAL" clId="{325ED805-F480-4EFF-B64B-F815BB4CD031}" dt="2024-10-21T20:23:51.461" v="722"/>
          <ac:spMkLst>
            <pc:docMk/>
            <pc:sldMk cId="4000016010" sldId="303"/>
            <ac:spMk id="10" creationId="{7C156471-0580-DB37-A6EB-FB5817FC5D8B}"/>
          </ac:spMkLst>
        </pc:spChg>
        <pc:spChg chg="add mod">
          <ac:chgData name="Siragusa, Gianmarco" userId="6df33696-2e6a-41ba-bc49-d574214408bc" providerId="ADAL" clId="{325ED805-F480-4EFF-B64B-F815BB4CD031}" dt="2024-10-21T20:24:39.313" v="735" actId="1076"/>
          <ac:spMkLst>
            <pc:docMk/>
            <pc:sldMk cId="4000016010" sldId="303"/>
            <ac:spMk id="11" creationId="{36D508EF-125D-3283-F602-BF169FD7F184}"/>
          </ac:spMkLst>
        </pc:spChg>
        <pc:spChg chg="add mod">
          <ac:chgData name="Siragusa, Gianmarco" userId="6df33696-2e6a-41ba-bc49-d574214408bc" providerId="ADAL" clId="{325ED805-F480-4EFF-B64B-F815BB4CD031}" dt="2024-10-21T20:24:39.313" v="735" actId="1076"/>
          <ac:spMkLst>
            <pc:docMk/>
            <pc:sldMk cId="4000016010" sldId="303"/>
            <ac:spMk id="12" creationId="{004D103B-5203-8EF7-3203-1212F5D86665}"/>
          </ac:spMkLst>
        </pc:spChg>
        <pc:spChg chg="add mod ord">
          <ac:chgData name="Siragusa, Gianmarco" userId="6df33696-2e6a-41ba-bc49-d574214408bc" providerId="ADAL" clId="{325ED805-F480-4EFF-B64B-F815BB4CD031}" dt="2024-10-21T20:25:11.149" v="755" actId="1035"/>
          <ac:spMkLst>
            <pc:docMk/>
            <pc:sldMk cId="4000016010" sldId="303"/>
            <ac:spMk id="14" creationId="{708B1546-FE59-B6BE-877C-A7CF44C7A966}"/>
          </ac:spMkLst>
        </pc:spChg>
        <pc:picChg chg="add mod">
          <ac:chgData name="Siragusa, Gianmarco" userId="6df33696-2e6a-41ba-bc49-d574214408bc" providerId="ADAL" clId="{325ED805-F480-4EFF-B64B-F815BB4CD031}" dt="2024-10-21T20:24:39.313" v="735" actId="1076"/>
          <ac:picMkLst>
            <pc:docMk/>
            <pc:sldMk cId="4000016010" sldId="303"/>
            <ac:picMk id="13" creationId="{9693E5EB-B6C1-8A08-CB0A-730D7F787B2E}"/>
          </ac:picMkLst>
        </pc:picChg>
        <pc:picChg chg="mod">
          <ac:chgData name="Siragusa, Gianmarco" userId="6df33696-2e6a-41ba-bc49-d574214408bc" providerId="ADAL" clId="{325ED805-F480-4EFF-B64B-F815BB4CD031}" dt="2024-10-21T20:25:11.149" v="755" actId="1035"/>
          <ac:picMkLst>
            <pc:docMk/>
            <pc:sldMk cId="4000016010" sldId="303"/>
            <ac:picMk id="2049" creationId="{FDE41EA0-CC6B-69A0-E5CE-4E7230CEC413}"/>
          </ac:picMkLst>
        </pc:picChg>
      </pc:sldChg>
      <pc:sldChg chg="addSp delSp modSp mod">
        <pc:chgData name="Siragusa, Gianmarco" userId="6df33696-2e6a-41ba-bc49-d574214408bc" providerId="ADAL" clId="{325ED805-F480-4EFF-B64B-F815BB4CD031}" dt="2024-10-22T10:18:04.587" v="1536" actId="12788"/>
        <pc:sldMkLst>
          <pc:docMk/>
          <pc:sldMk cId="1421679686" sldId="304"/>
        </pc:sldMkLst>
        <pc:spChg chg="add mod">
          <ac:chgData name="Siragusa, Gianmarco" userId="6df33696-2e6a-41ba-bc49-d574214408bc" providerId="ADAL" clId="{325ED805-F480-4EFF-B64B-F815BB4CD031}" dt="2024-10-21T18:13:39.162" v="524" actId="20577"/>
          <ac:spMkLst>
            <pc:docMk/>
            <pc:sldMk cId="1421679686" sldId="304"/>
            <ac:spMk id="4" creationId="{86167B0D-6B94-6038-B5F1-5B2BB27A81EB}"/>
          </ac:spMkLst>
        </pc:spChg>
        <pc:spChg chg="del">
          <ac:chgData name="Siragusa, Gianmarco" userId="6df33696-2e6a-41ba-bc49-d574214408bc" providerId="ADAL" clId="{325ED805-F480-4EFF-B64B-F815BB4CD031}" dt="2024-10-21T18:23:54.256" v="675" actId="478"/>
          <ac:spMkLst>
            <pc:docMk/>
            <pc:sldMk cId="1421679686" sldId="304"/>
            <ac:spMk id="5" creationId="{36B3FBC9-7D04-E1D1-3439-149DBE77B029}"/>
          </ac:spMkLst>
        </pc:spChg>
        <pc:spChg chg="del">
          <ac:chgData name="Siragusa, Gianmarco" userId="6df33696-2e6a-41ba-bc49-d574214408bc" providerId="ADAL" clId="{325ED805-F480-4EFF-B64B-F815BB4CD031}" dt="2024-10-21T18:13:41.163" v="525" actId="478"/>
          <ac:spMkLst>
            <pc:docMk/>
            <pc:sldMk cId="1421679686" sldId="304"/>
            <ac:spMk id="6" creationId="{F7462F03-4A43-B0D9-08F9-B19E500DC873}"/>
          </ac:spMkLst>
        </pc:spChg>
        <pc:spChg chg="add del mod">
          <ac:chgData name="Siragusa, Gianmarco" userId="6df33696-2e6a-41ba-bc49-d574214408bc" providerId="ADAL" clId="{325ED805-F480-4EFF-B64B-F815BB4CD031}" dt="2024-10-21T18:13:42.750" v="526" actId="478"/>
          <ac:spMkLst>
            <pc:docMk/>
            <pc:sldMk cId="1421679686" sldId="304"/>
            <ac:spMk id="8" creationId="{698A416F-8D75-7190-E0D9-FF3AC60ECEB7}"/>
          </ac:spMkLst>
        </pc:spChg>
        <pc:spChg chg="add mod">
          <ac:chgData name="Siragusa, Gianmarco" userId="6df33696-2e6a-41ba-bc49-d574214408bc" providerId="ADAL" clId="{325ED805-F480-4EFF-B64B-F815BB4CD031}" dt="2024-10-21T18:23:54.683" v="676"/>
          <ac:spMkLst>
            <pc:docMk/>
            <pc:sldMk cId="1421679686" sldId="304"/>
            <ac:spMk id="9" creationId="{EB6EF2F1-08DD-B4CA-F8BF-2506EF3C3B34}"/>
          </ac:spMkLst>
        </pc:spChg>
        <pc:spChg chg="add mod">
          <ac:chgData name="Siragusa, Gianmarco" userId="6df33696-2e6a-41ba-bc49-d574214408bc" providerId="ADAL" clId="{325ED805-F480-4EFF-B64B-F815BB4CD031}" dt="2024-10-21T18:23:54.683" v="676"/>
          <ac:spMkLst>
            <pc:docMk/>
            <pc:sldMk cId="1421679686" sldId="304"/>
            <ac:spMk id="10" creationId="{BD4D8BB6-DCF6-5374-F20B-CE39F2DED8CF}"/>
          </ac:spMkLst>
        </pc:spChg>
        <pc:spChg chg="add mod">
          <ac:chgData name="Siragusa, Gianmarco" userId="6df33696-2e6a-41ba-bc49-d574214408bc" providerId="ADAL" clId="{325ED805-F480-4EFF-B64B-F815BB4CD031}" dt="2024-10-21T18:23:54.683" v="676"/>
          <ac:spMkLst>
            <pc:docMk/>
            <pc:sldMk cId="1421679686" sldId="304"/>
            <ac:spMk id="11" creationId="{E0F25740-BD5F-C56D-35A0-F6A2EF412DE8}"/>
          </ac:spMkLst>
        </pc:spChg>
        <pc:spChg chg="mod">
          <ac:chgData name="Siragusa, Gianmarco" userId="6df33696-2e6a-41ba-bc49-d574214408bc" providerId="ADAL" clId="{325ED805-F480-4EFF-B64B-F815BB4CD031}" dt="2024-10-21T18:23:54.683" v="676"/>
          <ac:spMkLst>
            <pc:docMk/>
            <pc:sldMk cId="1421679686" sldId="304"/>
            <ac:spMk id="13" creationId="{D26181D5-379E-9DD3-BB60-8D7A91CD5AD6}"/>
          </ac:spMkLst>
        </pc:spChg>
        <pc:spChg chg="mod">
          <ac:chgData name="Siragusa, Gianmarco" userId="6df33696-2e6a-41ba-bc49-d574214408bc" providerId="ADAL" clId="{325ED805-F480-4EFF-B64B-F815BB4CD031}" dt="2024-10-21T18:23:54.683" v="676"/>
          <ac:spMkLst>
            <pc:docMk/>
            <pc:sldMk cId="1421679686" sldId="304"/>
            <ac:spMk id="14" creationId="{BDCC6981-16D7-BF22-75DA-E6E838F6323B}"/>
          </ac:spMkLst>
        </pc:spChg>
        <pc:spChg chg="mod">
          <ac:chgData name="Siragusa, Gianmarco" userId="6df33696-2e6a-41ba-bc49-d574214408bc" providerId="ADAL" clId="{325ED805-F480-4EFF-B64B-F815BB4CD031}" dt="2024-10-21T18:23:54.683" v="676"/>
          <ac:spMkLst>
            <pc:docMk/>
            <pc:sldMk cId="1421679686" sldId="304"/>
            <ac:spMk id="16" creationId="{D15D1C66-E12C-F1D3-0C99-CAD4B86AAECD}"/>
          </ac:spMkLst>
        </pc:spChg>
        <pc:spChg chg="mod">
          <ac:chgData name="Siragusa, Gianmarco" userId="6df33696-2e6a-41ba-bc49-d574214408bc" providerId="ADAL" clId="{325ED805-F480-4EFF-B64B-F815BB4CD031}" dt="2024-10-21T18:23:54.683" v="676"/>
          <ac:spMkLst>
            <pc:docMk/>
            <pc:sldMk cId="1421679686" sldId="304"/>
            <ac:spMk id="17" creationId="{48F18BE1-918C-8407-AB64-C8BD7A2BB6D5}"/>
          </ac:spMkLst>
        </pc:spChg>
        <pc:spChg chg="mod">
          <ac:chgData name="Siragusa, Gianmarco" userId="6df33696-2e6a-41ba-bc49-d574214408bc" providerId="ADAL" clId="{325ED805-F480-4EFF-B64B-F815BB4CD031}" dt="2024-10-21T18:23:54.683" v="676"/>
          <ac:spMkLst>
            <pc:docMk/>
            <pc:sldMk cId="1421679686" sldId="304"/>
            <ac:spMk id="19" creationId="{C51118AC-07FD-3961-B9C4-C4F782F96106}"/>
          </ac:spMkLst>
        </pc:spChg>
        <pc:spChg chg="mod">
          <ac:chgData name="Siragusa, Gianmarco" userId="6df33696-2e6a-41ba-bc49-d574214408bc" providerId="ADAL" clId="{325ED805-F480-4EFF-B64B-F815BB4CD031}" dt="2024-10-21T18:23:54.683" v="676"/>
          <ac:spMkLst>
            <pc:docMk/>
            <pc:sldMk cId="1421679686" sldId="304"/>
            <ac:spMk id="20" creationId="{A261269D-7D4F-D2FC-2481-F72FD8C227D6}"/>
          </ac:spMkLst>
        </pc:spChg>
        <pc:spChg chg="add mod">
          <ac:chgData name="Siragusa, Gianmarco" userId="6df33696-2e6a-41ba-bc49-d574214408bc" providerId="ADAL" clId="{325ED805-F480-4EFF-B64B-F815BB4CD031}" dt="2024-10-22T10:17:46.868" v="1530" actId="114"/>
          <ac:spMkLst>
            <pc:docMk/>
            <pc:sldMk cId="1421679686" sldId="304"/>
            <ac:spMk id="21" creationId="{5A145217-A14D-4C78-7EA0-B4795F0CE92A}"/>
          </ac:spMkLst>
        </pc:spChg>
        <pc:spChg chg="add mod">
          <ac:chgData name="Siragusa, Gianmarco" userId="6df33696-2e6a-41ba-bc49-d574214408bc" providerId="ADAL" clId="{325ED805-F480-4EFF-B64B-F815BB4CD031}" dt="2024-10-22T10:17:49.998" v="1531" actId="114"/>
          <ac:spMkLst>
            <pc:docMk/>
            <pc:sldMk cId="1421679686" sldId="304"/>
            <ac:spMk id="22" creationId="{7030E6BC-7B32-B171-C847-3274019D264A}"/>
          </ac:spMkLst>
        </pc:spChg>
        <pc:spChg chg="add mod">
          <ac:chgData name="Siragusa, Gianmarco" userId="6df33696-2e6a-41ba-bc49-d574214408bc" providerId="ADAL" clId="{325ED805-F480-4EFF-B64B-F815BB4CD031}" dt="2024-10-22T10:17:53.195" v="1532" actId="114"/>
          <ac:spMkLst>
            <pc:docMk/>
            <pc:sldMk cId="1421679686" sldId="304"/>
            <ac:spMk id="23" creationId="{48FD1126-D966-9A5C-F86D-7EB11A851D1A}"/>
          </ac:spMkLst>
        </pc:spChg>
        <pc:spChg chg="mod">
          <ac:chgData name="Siragusa, Gianmarco" userId="6df33696-2e6a-41ba-bc49-d574214408bc" providerId="ADAL" clId="{325ED805-F480-4EFF-B64B-F815BB4CD031}" dt="2024-10-21T18:23:56.798" v="677"/>
          <ac:spMkLst>
            <pc:docMk/>
            <pc:sldMk cId="1421679686" sldId="304"/>
            <ac:spMk id="25" creationId="{1CF84D9B-AB1A-32B7-A930-39C1903D9E5B}"/>
          </ac:spMkLst>
        </pc:spChg>
        <pc:spChg chg="mod">
          <ac:chgData name="Siragusa, Gianmarco" userId="6df33696-2e6a-41ba-bc49-d574214408bc" providerId="ADAL" clId="{325ED805-F480-4EFF-B64B-F815BB4CD031}" dt="2024-10-21T18:23:56.798" v="677"/>
          <ac:spMkLst>
            <pc:docMk/>
            <pc:sldMk cId="1421679686" sldId="304"/>
            <ac:spMk id="27" creationId="{639E709F-6009-9CF2-70D6-1895FAF78599}"/>
          </ac:spMkLst>
        </pc:spChg>
        <pc:spChg chg="mod">
          <ac:chgData name="Siragusa, Gianmarco" userId="6df33696-2e6a-41ba-bc49-d574214408bc" providerId="ADAL" clId="{325ED805-F480-4EFF-B64B-F815BB4CD031}" dt="2024-10-21T18:23:56.798" v="677"/>
          <ac:spMkLst>
            <pc:docMk/>
            <pc:sldMk cId="1421679686" sldId="304"/>
            <ac:spMk id="29" creationId="{F8AD2CD9-9482-A5B3-4CA1-B99145DE6C53}"/>
          </ac:spMkLst>
        </pc:spChg>
        <pc:spChg chg="mod">
          <ac:chgData name="Siragusa, Gianmarco" userId="6df33696-2e6a-41ba-bc49-d574214408bc" providerId="ADAL" clId="{325ED805-F480-4EFF-B64B-F815BB4CD031}" dt="2024-10-21T18:23:56.798" v="677"/>
          <ac:spMkLst>
            <pc:docMk/>
            <pc:sldMk cId="1421679686" sldId="304"/>
            <ac:spMk id="30" creationId="{1ABE1F56-BE7D-0421-67A3-037C50647612}"/>
          </ac:spMkLst>
        </pc:spChg>
        <pc:spChg chg="mod">
          <ac:chgData name="Siragusa, Gianmarco" userId="6df33696-2e6a-41ba-bc49-d574214408bc" providerId="ADAL" clId="{325ED805-F480-4EFF-B64B-F815BB4CD031}" dt="2024-10-21T18:23:56.798" v="677"/>
          <ac:spMkLst>
            <pc:docMk/>
            <pc:sldMk cId="1421679686" sldId="304"/>
            <ac:spMk id="32" creationId="{8989E855-6BD5-74C9-ABB3-FAAD4FCD1159}"/>
          </ac:spMkLst>
        </pc:spChg>
        <pc:spChg chg="mod">
          <ac:chgData name="Siragusa, Gianmarco" userId="6df33696-2e6a-41ba-bc49-d574214408bc" providerId="ADAL" clId="{325ED805-F480-4EFF-B64B-F815BB4CD031}" dt="2024-10-21T18:23:56.798" v="677"/>
          <ac:spMkLst>
            <pc:docMk/>
            <pc:sldMk cId="1421679686" sldId="304"/>
            <ac:spMk id="33" creationId="{739A39C7-E190-7908-D2BD-1BB421212EF2}"/>
          </ac:spMkLst>
        </pc:spChg>
        <pc:spChg chg="add mod">
          <ac:chgData name="Siragusa, Gianmarco" userId="6df33696-2e6a-41ba-bc49-d574214408bc" providerId="ADAL" clId="{325ED805-F480-4EFF-B64B-F815BB4CD031}" dt="2024-10-22T08:06:23.670" v="977" actId="164"/>
          <ac:spMkLst>
            <pc:docMk/>
            <pc:sldMk cId="1421679686" sldId="304"/>
            <ac:spMk id="34" creationId="{7DD56D3E-4A9E-FC9D-924B-86C02DE649AE}"/>
          </ac:spMkLst>
        </pc:spChg>
        <pc:spChg chg="add mod">
          <ac:chgData name="Siragusa, Gianmarco" userId="6df33696-2e6a-41ba-bc49-d574214408bc" providerId="ADAL" clId="{325ED805-F480-4EFF-B64B-F815BB4CD031}" dt="2024-10-22T08:04:45.346" v="955" actId="1076"/>
          <ac:spMkLst>
            <pc:docMk/>
            <pc:sldMk cId="1421679686" sldId="304"/>
            <ac:spMk id="36" creationId="{33ADC567-7511-DF37-8017-24FE2B12586A}"/>
          </ac:spMkLst>
        </pc:spChg>
        <pc:spChg chg="add mod">
          <ac:chgData name="Siragusa, Gianmarco" userId="6df33696-2e6a-41ba-bc49-d574214408bc" providerId="ADAL" clId="{325ED805-F480-4EFF-B64B-F815BB4CD031}" dt="2024-10-22T08:04:54.798" v="956"/>
          <ac:spMkLst>
            <pc:docMk/>
            <pc:sldMk cId="1421679686" sldId="304"/>
            <ac:spMk id="37" creationId="{C518F8B6-D1B3-87E9-FA0A-A2CE6A6E3F80}"/>
          </ac:spMkLst>
        </pc:spChg>
        <pc:spChg chg="add mod ord">
          <ac:chgData name="Siragusa, Gianmarco" userId="6df33696-2e6a-41ba-bc49-d574214408bc" providerId="ADAL" clId="{325ED805-F480-4EFF-B64B-F815BB4CD031}" dt="2024-10-22T10:18:01.092" v="1533" actId="164"/>
          <ac:spMkLst>
            <pc:docMk/>
            <pc:sldMk cId="1421679686" sldId="304"/>
            <ac:spMk id="38" creationId="{3E1FBC4A-8A02-CA27-36A5-6C5A331BAC97}"/>
          </ac:spMkLst>
        </pc:spChg>
        <pc:grpChg chg="add mod">
          <ac:chgData name="Siragusa, Gianmarco" userId="6df33696-2e6a-41ba-bc49-d574214408bc" providerId="ADAL" clId="{325ED805-F480-4EFF-B64B-F815BB4CD031}" dt="2024-10-21T18:23:54.683" v="676"/>
          <ac:grpSpMkLst>
            <pc:docMk/>
            <pc:sldMk cId="1421679686" sldId="304"/>
            <ac:grpSpMk id="12" creationId="{B4782D3F-772A-7ADD-2529-D6D8A808DAEA}"/>
          </ac:grpSpMkLst>
        </pc:grpChg>
        <pc:grpChg chg="add mod">
          <ac:chgData name="Siragusa, Gianmarco" userId="6df33696-2e6a-41ba-bc49-d574214408bc" providerId="ADAL" clId="{325ED805-F480-4EFF-B64B-F815BB4CD031}" dt="2024-10-21T18:23:54.683" v="676"/>
          <ac:grpSpMkLst>
            <pc:docMk/>
            <pc:sldMk cId="1421679686" sldId="304"/>
            <ac:grpSpMk id="15" creationId="{FBF2E942-7825-FACC-F690-48D1F9747473}"/>
          </ac:grpSpMkLst>
        </pc:grpChg>
        <pc:grpChg chg="add mod">
          <ac:chgData name="Siragusa, Gianmarco" userId="6df33696-2e6a-41ba-bc49-d574214408bc" providerId="ADAL" clId="{325ED805-F480-4EFF-B64B-F815BB4CD031}" dt="2024-10-21T18:23:54.683" v="676"/>
          <ac:grpSpMkLst>
            <pc:docMk/>
            <pc:sldMk cId="1421679686" sldId="304"/>
            <ac:grpSpMk id="18" creationId="{EA964814-D7D9-AADF-F51C-E013C63FE45C}"/>
          </ac:grpSpMkLst>
        </pc:grpChg>
        <pc:grpChg chg="add mod">
          <ac:chgData name="Siragusa, Gianmarco" userId="6df33696-2e6a-41ba-bc49-d574214408bc" providerId="ADAL" clId="{325ED805-F480-4EFF-B64B-F815BB4CD031}" dt="2024-10-21T18:24:00.538" v="678" actId="1076"/>
          <ac:grpSpMkLst>
            <pc:docMk/>
            <pc:sldMk cId="1421679686" sldId="304"/>
            <ac:grpSpMk id="24" creationId="{0816BDA1-7464-7B67-DEBD-ADE026521FB5}"/>
          </ac:grpSpMkLst>
        </pc:grpChg>
        <pc:grpChg chg="add mod">
          <ac:chgData name="Siragusa, Gianmarco" userId="6df33696-2e6a-41ba-bc49-d574214408bc" providerId="ADAL" clId="{325ED805-F480-4EFF-B64B-F815BB4CD031}" dt="2024-10-21T18:24:00.538" v="678" actId="1076"/>
          <ac:grpSpMkLst>
            <pc:docMk/>
            <pc:sldMk cId="1421679686" sldId="304"/>
            <ac:grpSpMk id="28" creationId="{9A3E1E28-3685-CB57-9390-BBC8221F777D}"/>
          </ac:grpSpMkLst>
        </pc:grpChg>
        <pc:grpChg chg="add mod">
          <ac:chgData name="Siragusa, Gianmarco" userId="6df33696-2e6a-41ba-bc49-d574214408bc" providerId="ADAL" clId="{325ED805-F480-4EFF-B64B-F815BB4CD031}" dt="2024-10-21T18:24:00.538" v="678" actId="1076"/>
          <ac:grpSpMkLst>
            <pc:docMk/>
            <pc:sldMk cId="1421679686" sldId="304"/>
            <ac:grpSpMk id="31" creationId="{6C396747-E517-B5F9-9E43-0DEA154386DF}"/>
          </ac:grpSpMkLst>
        </pc:grpChg>
        <pc:grpChg chg="add mod">
          <ac:chgData name="Siragusa, Gianmarco" userId="6df33696-2e6a-41ba-bc49-d574214408bc" providerId="ADAL" clId="{325ED805-F480-4EFF-B64B-F815BB4CD031}" dt="2024-10-22T10:18:01.092" v="1533" actId="164"/>
          <ac:grpSpMkLst>
            <pc:docMk/>
            <pc:sldMk cId="1421679686" sldId="304"/>
            <ac:grpSpMk id="41" creationId="{D04FFA54-69A2-6A41-6A8E-09336A2D6D1A}"/>
          </ac:grpSpMkLst>
        </pc:grpChg>
        <pc:grpChg chg="add mod">
          <ac:chgData name="Siragusa, Gianmarco" userId="6df33696-2e6a-41ba-bc49-d574214408bc" providerId="ADAL" clId="{325ED805-F480-4EFF-B64B-F815BB4CD031}" dt="2024-10-22T10:18:04.587" v="1536" actId="12788"/>
          <ac:grpSpMkLst>
            <pc:docMk/>
            <pc:sldMk cId="1421679686" sldId="304"/>
            <ac:grpSpMk id="42" creationId="{C4B143C8-38FA-6671-8BC9-A195EA456A71}"/>
          </ac:grpSpMkLst>
        </pc:grpChg>
        <pc:picChg chg="add del mod">
          <ac:chgData name="Siragusa, Gianmarco" userId="6df33696-2e6a-41ba-bc49-d574214408bc" providerId="ADAL" clId="{325ED805-F480-4EFF-B64B-F815BB4CD031}" dt="2024-10-22T08:05:34.956" v="968" actId="478"/>
          <ac:picMkLst>
            <pc:docMk/>
            <pc:sldMk cId="1421679686" sldId="304"/>
            <ac:picMk id="35" creationId="{E9A65264-2F72-63E2-1693-375DF15CEB43}"/>
          </ac:picMkLst>
        </pc:picChg>
        <pc:picChg chg="add mod">
          <ac:chgData name="Siragusa, Gianmarco" userId="6df33696-2e6a-41ba-bc49-d574214408bc" providerId="ADAL" clId="{325ED805-F480-4EFF-B64B-F815BB4CD031}" dt="2024-10-22T08:06:23.670" v="977" actId="164"/>
          <ac:picMkLst>
            <pc:docMk/>
            <pc:sldMk cId="1421679686" sldId="304"/>
            <ac:picMk id="40" creationId="{9B3B3EBB-57ED-8442-A2FD-6D98660792D3}"/>
          </ac:picMkLst>
        </pc:picChg>
      </pc:sldChg>
      <pc:sldChg chg="addSp delSp modSp add del mod">
        <pc:chgData name="Siragusa, Gianmarco" userId="6df33696-2e6a-41ba-bc49-d574214408bc" providerId="ADAL" clId="{325ED805-F480-4EFF-B64B-F815BB4CD031}" dt="2024-10-22T08:36:10.212" v="1424" actId="47"/>
        <pc:sldMkLst>
          <pc:docMk/>
          <pc:sldMk cId="913080669" sldId="305"/>
        </pc:sldMkLst>
        <pc:spChg chg="add mod">
          <ac:chgData name="Siragusa, Gianmarco" userId="6df33696-2e6a-41ba-bc49-d574214408bc" providerId="ADAL" clId="{325ED805-F480-4EFF-B64B-F815BB4CD031}" dt="2024-10-21T18:14:09.910" v="546" actId="20577"/>
          <ac:spMkLst>
            <pc:docMk/>
            <pc:sldMk cId="913080669" sldId="305"/>
            <ac:spMk id="4" creationId="{86D61347-C5FF-B872-10AB-74CBE5B3246F}"/>
          </ac:spMkLst>
        </pc:spChg>
        <pc:spChg chg="del mod">
          <ac:chgData name="Siragusa, Gianmarco" userId="6df33696-2e6a-41ba-bc49-d574214408bc" providerId="ADAL" clId="{325ED805-F480-4EFF-B64B-F815BB4CD031}" dt="2024-10-22T08:17:49.063" v="1046" actId="478"/>
          <ac:spMkLst>
            <pc:docMk/>
            <pc:sldMk cId="913080669" sldId="305"/>
            <ac:spMk id="5" creationId="{F73F9C70-10E6-99D1-7551-2974EEDD05D5}"/>
          </ac:spMkLst>
        </pc:spChg>
        <pc:spChg chg="del">
          <ac:chgData name="Siragusa, Gianmarco" userId="6df33696-2e6a-41ba-bc49-d574214408bc" providerId="ADAL" clId="{325ED805-F480-4EFF-B64B-F815BB4CD031}" dt="2024-10-21T18:13:56.572" v="539" actId="478"/>
          <ac:spMkLst>
            <pc:docMk/>
            <pc:sldMk cId="913080669" sldId="305"/>
            <ac:spMk id="6" creationId="{CAC77832-A786-BD33-92A5-436B77969EE7}"/>
          </ac:spMkLst>
        </pc:spChg>
        <pc:spChg chg="add del mod">
          <ac:chgData name="Siragusa, Gianmarco" userId="6df33696-2e6a-41ba-bc49-d574214408bc" providerId="ADAL" clId="{325ED805-F480-4EFF-B64B-F815BB4CD031}" dt="2024-10-21T18:13:58.672" v="540" actId="478"/>
          <ac:spMkLst>
            <pc:docMk/>
            <pc:sldMk cId="913080669" sldId="305"/>
            <ac:spMk id="8" creationId="{F0743430-D04B-40C1-95CC-B4C7FE536B15}"/>
          </ac:spMkLst>
        </pc:spChg>
        <pc:spChg chg="add mod">
          <ac:chgData name="Siragusa, Gianmarco" userId="6df33696-2e6a-41ba-bc49-d574214408bc" providerId="ADAL" clId="{325ED805-F480-4EFF-B64B-F815BB4CD031}" dt="2024-10-22T08:16:33.640" v="1006"/>
          <ac:spMkLst>
            <pc:docMk/>
            <pc:sldMk cId="913080669" sldId="305"/>
            <ac:spMk id="9" creationId="{32F6A7CF-961B-5FEF-20C4-F4507E4EA88F}"/>
          </ac:spMkLst>
        </pc:spChg>
        <pc:spChg chg="mod">
          <ac:chgData name="Siragusa, Gianmarco" userId="6df33696-2e6a-41ba-bc49-d574214408bc" providerId="ADAL" clId="{325ED805-F480-4EFF-B64B-F815BB4CD031}" dt="2024-10-22T08:16:33.640" v="1006"/>
          <ac:spMkLst>
            <pc:docMk/>
            <pc:sldMk cId="913080669" sldId="305"/>
            <ac:spMk id="11" creationId="{BD0558DD-732A-6CD8-1E91-FCB850475AA9}"/>
          </ac:spMkLst>
        </pc:spChg>
        <pc:spChg chg="mod">
          <ac:chgData name="Siragusa, Gianmarco" userId="6df33696-2e6a-41ba-bc49-d574214408bc" providerId="ADAL" clId="{325ED805-F480-4EFF-B64B-F815BB4CD031}" dt="2024-10-22T08:16:33.640" v="1006"/>
          <ac:spMkLst>
            <pc:docMk/>
            <pc:sldMk cId="913080669" sldId="305"/>
            <ac:spMk id="12" creationId="{2EBA2CDE-A3D1-6099-0CB9-615C8AAD6F4B}"/>
          </ac:spMkLst>
        </pc:spChg>
        <pc:spChg chg="mod">
          <ac:chgData name="Siragusa, Gianmarco" userId="6df33696-2e6a-41ba-bc49-d574214408bc" providerId="ADAL" clId="{325ED805-F480-4EFF-B64B-F815BB4CD031}" dt="2024-10-22T08:16:33.640" v="1006"/>
          <ac:spMkLst>
            <pc:docMk/>
            <pc:sldMk cId="913080669" sldId="305"/>
            <ac:spMk id="13" creationId="{1EE244E3-E74D-315E-769F-4B4982540775}"/>
          </ac:spMkLst>
        </pc:spChg>
        <pc:spChg chg="add mod">
          <ac:chgData name="Siragusa, Gianmarco" userId="6df33696-2e6a-41ba-bc49-d574214408bc" providerId="ADAL" clId="{325ED805-F480-4EFF-B64B-F815BB4CD031}" dt="2024-10-22T08:18:51.130" v="1068" actId="12789"/>
          <ac:spMkLst>
            <pc:docMk/>
            <pc:sldMk cId="913080669" sldId="305"/>
            <ac:spMk id="14" creationId="{0519B268-C58B-F781-4B42-6C4E7724947A}"/>
          </ac:spMkLst>
        </pc:spChg>
        <pc:spChg chg="del mod">
          <ac:chgData name="Siragusa, Gianmarco" userId="6df33696-2e6a-41ba-bc49-d574214408bc" providerId="ADAL" clId="{325ED805-F480-4EFF-B64B-F815BB4CD031}" dt="2024-10-22T08:16:46.991" v="1009" actId="478"/>
          <ac:spMkLst>
            <pc:docMk/>
            <pc:sldMk cId="913080669" sldId="305"/>
            <ac:spMk id="16" creationId="{AD0919C7-64FD-B8E6-AEDB-08D8F4D2E53D}"/>
          </ac:spMkLst>
        </pc:spChg>
        <pc:spChg chg="mod topLvl">
          <ac:chgData name="Siragusa, Gianmarco" userId="6df33696-2e6a-41ba-bc49-d574214408bc" providerId="ADAL" clId="{325ED805-F480-4EFF-B64B-F815BB4CD031}" dt="2024-10-22T08:19:20.400" v="1087" actId="255"/>
          <ac:spMkLst>
            <pc:docMk/>
            <pc:sldMk cId="913080669" sldId="305"/>
            <ac:spMk id="17" creationId="{BB3AAE56-9349-9FBA-7C52-DD2103A39B2A}"/>
          </ac:spMkLst>
        </pc:spChg>
        <pc:spChg chg="del mod topLvl">
          <ac:chgData name="Siragusa, Gianmarco" userId="6df33696-2e6a-41ba-bc49-d574214408bc" providerId="ADAL" clId="{325ED805-F480-4EFF-B64B-F815BB4CD031}" dt="2024-10-22T08:17:06.186" v="1023" actId="478"/>
          <ac:spMkLst>
            <pc:docMk/>
            <pc:sldMk cId="913080669" sldId="305"/>
            <ac:spMk id="18" creationId="{A7BFBCE3-6D51-C289-417E-75CD2FF096DF}"/>
          </ac:spMkLst>
        </pc:spChg>
        <pc:spChg chg="add mod">
          <ac:chgData name="Siragusa, Gianmarco" userId="6df33696-2e6a-41ba-bc49-d574214408bc" providerId="ADAL" clId="{325ED805-F480-4EFF-B64B-F815BB4CD031}" dt="2024-10-22T08:21:51.133" v="1122" actId="207"/>
          <ac:spMkLst>
            <pc:docMk/>
            <pc:sldMk cId="913080669" sldId="305"/>
            <ac:spMk id="20" creationId="{0D25C128-6BA9-F4DA-6810-E737988E9364}"/>
          </ac:spMkLst>
        </pc:spChg>
        <pc:spChg chg="add mod">
          <ac:chgData name="Siragusa, Gianmarco" userId="6df33696-2e6a-41ba-bc49-d574214408bc" providerId="ADAL" clId="{325ED805-F480-4EFF-B64B-F815BB4CD031}" dt="2024-10-22T08:17:52.886" v="1047" actId="571"/>
          <ac:spMkLst>
            <pc:docMk/>
            <pc:sldMk cId="913080669" sldId="305"/>
            <ac:spMk id="21" creationId="{F85D3ACD-726F-E015-ECB8-6E828B949F60}"/>
          </ac:spMkLst>
        </pc:spChg>
        <pc:spChg chg="add mod">
          <ac:chgData name="Siragusa, Gianmarco" userId="6df33696-2e6a-41ba-bc49-d574214408bc" providerId="ADAL" clId="{325ED805-F480-4EFF-B64B-F815BB4CD031}" dt="2024-10-22T08:19:20.400" v="1087" actId="255"/>
          <ac:spMkLst>
            <pc:docMk/>
            <pc:sldMk cId="913080669" sldId="305"/>
            <ac:spMk id="22" creationId="{E621E8BA-4341-0B81-D182-0BF7B215D45A}"/>
          </ac:spMkLst>
        </pc:spChg>
        <pc:spChg chg="add del mod">
          <ac:chgData name="Siragusa, Gianmarco" userId="6df33696-2e6a-41ba-bc49-d574214408bc" providerId="ADAL" clId="{325ED805-F480-4EFF-B64B-F815BB4CD031}" dt="2024-10-22T08:18:25.783" v="1060" actId="478"/>
          <ac:spMkLst>
            <pc:docMk/>
            <pc:sldMk cId="913080669" sldId="305"/>
            <ac:spMk id="23" creationId="{7B714F2B-50BE-A4C2-1E57-844E52BE9CC2}"/>
          </ac:spMkLst>
        </pc:spChg>
        <pc:spChg chg="add mod">
          <ac:chgData name="Siragusa, Gianmarco" userId="6df33696-2e6a-41ba-bc49-d574214408bc" providerId="ADAL" clId="{325ED805-F480-4EFF-B64B-F815BB4CD031}" dt="2024-10-22T08:21:51.133" v="1122" actId="207"/>
          <ac:spMkLst>
            <pc:docMk/>
            <pc:sldMk cId="913080669" sldId="305"/>
            <ac:spMk id="25" creationId="{074D2164-401A-BA80-0631-D8312881407E}"/>
          </ac:spMkLst>
        </pc:spChg>
        <pc:spChg chg="add mod">
          <ac:chgData name="Siragusa, Gianmarco" userId="6df33696-2e6a-41ba-bc49-d574214408bc" providerId="ADAL" clId="{325ED805-F480-4EFF-B64B-F815BB4CD031}" dt="2024-10-22T08:19:04.331" v="1069" actId="571"/>
          <ac:spMkLst>
            <pc:docMk/>
            <pc:sldMk cId="913080669" sldId="305"/>
            <ac:spMk id="27" creationId="{DC6A6A94-601F-5203-4577-26EA235C5AE7}"/>
          </ac:spMkLst>
        </pc:spChg>
        <pc:spChg chg="add mod">
          <ac:chgData name="Siragusa, Gianmarco" userId="6df33696-2e6a-41ba-bc49-d574214408bc" providerId="ADAL" clId="{325ED805-F480-4EFF-B64B-F815BB4CD031}" dt="2024-10-22T08:19:20.400" v="1087" actId="255"/>
          <ac:spMkLst>
            <pc:docMk/>
            <pc:sldMk cId="913080669" sldId="305"/>
            <ac:spMk id="28" creationId="{4D002664-A19A-3854-BB40-5E70DAD424CC}"/>
          </ac:spMkLst>
        </pc:spChg>
        <pc:spChg chg="add mod">
          <ac:chgData name="Siragusa, Gianmarco" userId="6df33696-2e6a-41ba-bc49-d574214408bc" providerId="ADAL" clId="{325ED805-F480-4EFF-B64B-F815BB4CD031}" dt="2024-10-22T08:21:51.133" v="1122" actId="207"/>
          <ac:spMkLst>
            <pc:docMk/>
            <pc:sldMk cId="913080669" sldId="305"/>
            <ac:spMk id="30" creationId="{0375CAC0-63BD-36C3-46F7-ACBBA8E8C386}"/>
          </ac:spMkLst>
        </pc:spChg>
        <pc:spChg chg="mod">
          <ac:chgData name="Siragusa, Gianmarco" userId="6df33696-2e6a-41ba-bc49-d574214408bc" providerId="ADAL" clId="{325ED805-F480-4EFF-B64B-F815BB4CD031}" dt="2024-10-22T08:30:30.558" v="1227"/>
          <ac:spMkLst>
            <pc:docMk/>
            <pc:sldMk cId="913080669" sldId="305"/>
            <ac:spMk id="32" creationId="{74A3B2B1-FD42-A9FB-3D5A-E42224F4AADF}"/>
          </ac:spMkLst>
        </pc:spChg>
        <pc:spChg chg="mod">
          <ac:chgData name="Siragusa, Gianmarco" userId="6df33696-2e6a-41ba-bc49-d574214408bc" providerId="ADAL" clId="{325ED805-F480-4EFF-B64B-F815BB4CD031}" dt="2024-10-22T08:30:30.558" v="1227"/>
          <ac:spMkLst>
            <pc:docMk/>
            <pc:sldMk cId="913080669" sldId="305"/>
            <ac:spMk id="33" creationId="{4D66AE05-9232-EECB-E0DE-E21750FA03C9}"/>
          </ac:spMkLst>
        </pc:spChg>
        <pc:grpChg chg="add mod">
          <ac:chgData name="Siragusa, Gianmarco" userId="6df33696-2e6a-41ba-bc49-d574214408bc" providerId="ADAL" clId="{325ED805-F480-4EFF-B64B-F815BB4CD031}" dt="2024-10-22T08:16:33.640" v="1006"/>
          <ac:grpSpMkLst>
            <pc:docMk/>
            <pc:sldMk cId="913080669" sldId="305"/>
            <ac:grpSpMk id="10" creationId="{5BC3996A-DE01-2F9F-0802-8829BF6D7329}"/>
          </ac:grpSpMkLst>
        </pc:grpChg>
        <pc:grpChg chg="add del mod">
          <ac:chgData name="Siragusa, Gianmarco" userId="6df33696-2e6a-41ba-bc49-d574214408bc" providerId="ADAL" clId="{325ED805-F480-4EFF-B64B-F815BB4CD031}" dt="2024-10-22T08:17:06.186" v="1023" actId="478"/>
          <ac:grpSpMkLst>
            <pc:docMk/>
            <pc:sldMk cId="913080669" sldId="305"/>
            <ac:grpSpMk id="15" creationId="{2C616723-CA59-C4C7-972E-1135466DA3BE}"/>
          </ac:grpSpMkLst>
        </pc:grpChg>
        <pc:grpChg chg="add mod">
          <ac:chgData name="Siragusa, Gianmarco" userId="6df33696-2e6a-41ba-bc49-d574214408bc" providerId="ADAL" clId="{325ED805-F480-4EFF-B64B-F815BB4CD031}" dt="2024-10-22T08:30:58.749" v="1236" actId="164"/>
          <ac:grpSpMkLst>
            <pc:docMk/>
            <pc:sldMk cId="913080669" sldId="305"/>
            <ac:grpSpMk id="31" creationId="{909E899C-C108-9477-A6EB-3FC30DD14370}"/>
          </ac:grpSpMkLst>
        </pc:grpChg>
        <pc:grpChg chg="add mod">
          <ac:chgData name="Siragusa, Gianmarco" userId="6df33696-2e6a-41ba-bc49-d574214408bc" providerId="ADAL" clId="{325ED805-F480-4EFF-B64B-F815BB4CD031}" dt="2024-10-22T08:31:05.114" v="1237" actId="1076"/>
          <ac:grpSpMkLst>
            <pc:docMk/>
            <pc:sldMk cId="913080669" sldId="305"/>
            <ac:grpSpMk id="34" creationId="{DBAFC895-FDD7-366D-6B94-A71AE986832C}"/>
          </ac:grpSpMkLst>
        </pc:grpChg>
        <pc:picChg chg="add mod ord">
          <ac:chgData name="Siragusa, Gianmarco" userId="6df33696-2e6a-41ba-bc49-d574214408bc" providerId="ADAL" clId="{325ED805-F480-4EFF-B64B-F815BB4CD031}" dt="2024-10-22T08:30:58.749" v="1236" actId="164"/>
          <ac:picMkLst>
            <pc:docMk/>
            <pc:sldMk cId="913080669" sldId="305"/>
            <ac:picMk id="29" creationId="{B5E96E42-5131-D8F7-1244-1A3765A9CB38}"/>
          </ac:picMkLst>
        </pc:picChg>
      </pc:sldChg>
      <pc:sldChg chg="addSp delSp modSp mod">
        <pc:chgData name="Siragusa, Gianmarco" userId="6df33696-2e6a-41ba-bc49-d574214408bc" providerId="ADAL" clId="{325ED805-F480-4EFF-B64B-F815BB4CD031}" dt="2024-10-22T08:47:32.509" v="1455" actId="255"/>
        <pc:sldMkLst>
          <pc:docMk/>
          <pc:sldMk cId="4024639846" sldId="306"/>
        </pc:sldMkLst>
        <pc:spChg chg="add mod">
          <ac:chgData name="Siragusa, Gianmarco" userId="6df33696-2e6a-41ba-bc49-d574214408bc" providerId="ADAL" clId="{325ED805-F480-4EFF-B64B-F815BB4CD031}" dt="2024-10-21T18:14:24.508" v="565" actId="20577"/>
          <ac:spMkLst>
            <pc:docMk/>
            <pc:sldMk cId="4024639846" sldId="306"/>
            <ac:spMk id="4" creationId="{48DA9439-CBB8-A923-427F-6704DE2F6709}"/>
          </ac:spMkLst>
        </pc:spChg>
        <pc:spChg chg="del mod">
          <ac:chgData name="Siragusa, Gianmarco" userId="6df33696-2e6a-41ba-bc49-d574214408bc" providerId="ADAL" clId="{325ED805-F480-4EFF-B64B-F815BB4CD031}" dt="2024-10-22T08:35:37.777" v="1423" actId="478"/>
          <ac:spMkLst>
            <pc:docMk/>
            <pc:sldMk cId="4024639846" sldId="306"/>
            <ac:spMk id="5" creationId="{A181BBA8-3CD8-3C5E-92B2-5147C1174097}"/>
          </ac:spMkLst>
        </pc:spChg>
        <pc:spChg chg="del">
          <ac:chgData name="Siragusa, Gianmarco" userId="6df33696-2e6a-41ba-bc49-d574214408bc" providerId="ADAL" clId="{325ED805-F480-4EFF-B64B-F815BB4CD031}" dt="2024-10-21T18:14:26.778" v="566" actId="478"/>
          <ac:spMkLst>
            <pc:docMk/>
            <pc:sldMk cId="4024639846" sldId="306"/>
            <ac:spMk id="6" creationId="{D7762E46-5EE4-4913-4388-13232648C3BD}"/>
          </ac:spMkLst>
        </pc:spChg>
        <pc:spChg chg="add del mod">
          <ac:chgData name="Siragusa, Gianmarco" userId="6df33696-2e6a-41ba-bc49-d574214408bc" providerId="ADAL" clId="{325ED805-F480-4EFF-B64B-F815BB4CD031}" dt="2024-10-21T18:14:27.978" v="567" actId="478"/>
          <ac:spMkLst>
            <pc:docMk/>
            <pc:sldMk cId="4024639846" sldId="306"/>
            <ac:spMk id="8" creationId="{FDEEBA1E-AC8E-CFE3-C9EE-EBA1456D1AD6}"/>
          </ac:spMkLst>
        </pc:spChg>
        <pc:spChg chg="add del mod">
          <ac:chgData name="Siragusa, Gianmarco" userId="6df33696-2e6a-41ba-bc49-d574214408bc" providerId="ADAL" clId="{325ED805-F480-4EFF-B64B-F815BB4CD031}" dt="2024-10-22T08:47:26.012" v="1452" actId="478"/>
          <ac:spMkLst>
            <pc:docMk/>
            <pc:sldMk cId="4024639846" sldId="306"/>
            <ac:spMk id="9" creationId="{098AA742-37E4-BE25-49CF-7F83DA6FE992}"/>
          </ac:spMkLst>
        </pc:spChg>
        <pc:spChg chg="add mod ord">
          <ac:chgData name="Siragusa, Gianmarco" userId="6df33696-2e6a-41ba-bc49-d574214408bc" providerId="ADAL" clId="{325ED805-F480-4EFF-B64B-F815BB4CD031}" dt="2024-10-22T08:47:32.509" v="1455" actId="255"/>
          <ac:spMkLst>
            <pc:docMk/>
            <pc:sldMk cId="4024639846" sldId="306"/>
            <ac:spMk id="10" creationId="{CD9436A5-80B0-0270-1CBF-0745BA8B4959}"/>
          </ac:spMkLst>
        </pc:spChg>
      </pc:sldChg>
      <pc:sldChg chg="addSp delSp modSp mod ord">
        <pc:chgData name="Siragusa, Gianmarco" userId="6df33696-2e6a-41ba-bc49-d574214408bc" providerId="ADAL" clId="{325ED805-F480-4EFF-B64B-F815BB4CD031}" dt="2024-10-22T08:33:36.449" v="1413"/>
        <pc:sldMkLst>
          <pc:docMk/>
          <pc:sldMk cId="2161160239" sldId="307"/>
        </pc:sldMkLst>
        <pc:spChg chg="del">
          <ac:chgData name="Siragusa, Gianmarco" userId="6df33696-2e6a-41ba-bc49-d574214408bc" providerId="ADAL" clId="{325ED805-F480-4EFF-B64B-F815BB4CD031}" dt="2024-10-21T18:14:14.233" v="547" actId="478"/>
          <ac:spMkLst>
            <pc:docMk/>
            <pc:sldMk cId="2161160239" sldId="307"/>
            <ac:spMk id="6" creationId="{594F5061-8993-E29F-F863-38C0FCA2B2D1}"/>
          </ac:spMkLst>
        </pc:spChg>
        <pc:spChg chg="add del mod">
          <ac:chgData name="Siragusa, Gianmarco" userId="6df33696-2e6a-41ba-bc49-d574214408bc" providerId="ADAL" clId="{325ED805-F480-4EFF-B64B-F815BB4CD031}" dt="2024-10-21T18:14:16.788" v="549" actId="478"/>
          <ac:spMkLst>
            <pc:docMk/>
            <pc:sldMk cId="2161160239" sldId="307"/>
            <ac:spMk id="8" creationId="{01396747-DFEF-F340-6F6C-4533795186BD}"/>
          </ac:spMkLst>
        </pc:spChg>
        <pc:spChg chg="add mod">
          <ac:chgData name="Siragusa, Gianmarco" userId="6df33696-2e6a-41ba-bc49-d574214408bc" providerId="ADAL" clId="{325ED805-F480-4EFF-B64B-F815BB4CD031}" dt="2024-10-21T18:14:18.004" v="551" actId="20577"/>
          <ac:spMkLst>
            <pc:docMk/>
            <pc:sldMk cId="2161160239" sldId="307"/>
            <ac:spMk id="9" creationId="{5071CE21-B607-1A4D-680B-A68DB7DDDDC3}"/>
          </ac:spMkLst>
        </pc:spChg>
      </pc:sldChg>
      <pc:sldChg chg="ord">
        <pc:chgData name="Siragusa, Gianmarco" userId="6df33696-2e6a-41ba-bc49-d574214408bc" providerId="ADAL" clId="{325ED805-F480-4EFF-B64B-F815BB4CD031}" dt="2024-10-21T18:22:26.480" v="672"/>
        <pc:sldMkLst>
          <pc:docMk/>
          <pc:sldMk cId="3237754985" sldId="2147473382"/>
        </pc:sldMkLst>
      </pc:sldChg>
      <pc:sldChg chg="add del">
        <pc:chgData name="Siragusa, Gianmarco" userId="6df33696-2e6a-41ba-bc49-d574214408bc" providerId="ADAL" clId="{325ED805-F480-4EFF-B64B-F815BB4CD031}" dt="2024-10-21T18:21:12.987" v="661" actId="47"/>
        <pc:sldMkLst>
          <pc:docMk/>
          <pc:sldMk cId="2219847643" sldId="2147473383"/>
        </pc:sldMkLst>
      </pc:sldChg>
      <pc:sldChg chg="addSp delSp modSp add mod ord">
        <pc:chgData name="Siragusa, Gianmarco" userId="6df33696-2e6a-41ba-bc49-d574214408bc" providerId="ADAL" clId="{325ED805-F480-4EFF-B64B-F815BB4CD031}" dt="2024-10-22T08:03:43.316" v="950"/>
        <pc:sldMkLst>
          <pc:docMk/>
          <pc:sldMk cId="3478167086" sldId="2147473384"/>
        </pc:sldMkLst>
        <pc:spChg chg="mod">
          <ac:chgData name="Siragusa, Gianmarco" userId="6df33696-2e6a-41ba-bc49-d574214408bc" providerId="ADAL" clId="{325ED805-F480-4EFF-B64B-F815BB4CD031}" dt="2024-10-22T08:00:34.601" v="908" actId="1076"/>
          <ac:spMkLst>
            <pc:docMk/>
            <pc:sldMk cId="3478167086" sldId="2147473384"/>
            <ac:spMk id="2" creationId="{2A8746B6-E49B-52D8-072C-4453AC5AE516}"/>
          </ac:spMkLst>
        </pc:spChg>
        <pc:spChg chg="mod">
          <ac:chgData name="Siragusa, Gianmarco" userId="6df33696-2e6a-41ba-bc49-d574214408bc" providerId="ADAL" clId="{325ED805-F480-4EFF-B64B-F815BB4CD031}" dt="2024-10-22T08:00:34.601" v="908" actId="1076"/>
          <ac:spMkLst>
            <pc:docMk/>
            <pc:sldMk cId="3478167086" sldId="2147473384"/>
            <ac:spMk id="5" creationId="{11EF8D98-DED0-9F90-B998-8F75D4391AB5}"/>
          </ac:spMkLst>
        </pc:spChg>
        <pc:spChg chg="add del mod ord">
          <ac:chgData name="Siragusa, Gianmarco" userId="6df33696-2e6a-41ba-bc49-d574214408bc" providerId="ADAL" clId="{325ED805-F480-4EFF-B64B-F815BB4CD031}" dt="2024-10-22T07:59:05.904" v="896" actId="21"/>
          <ac:spMkLst>
            <pc:docMk/>
            <pc:sldMk cId="3478167086" sldId="2147473384"/>
            <ac:spMk id="6" creationId="{6C46C842-1958-9EB1-B90E-6A5E1BCEAC20}"/>
          </ac:spMkLst>
        </pc:spChg>
        <pc:spChg chg="add mod ord">
          <ac:chgData name="Siragusa, Gianmarco" userId="6df33696-2e6a-41ba-bc49-d574214408bc" providerId="ADAL" clId="{325ED805-F480-4EFF-B64B-F815BB4CD031}" dt="2024-10-22T08:00:34.601" v="908" actId="1076"/>
          <ac:spMkLst>
            <pc:docMk/>
            <pc:sldMk cId="3478167086" sldId="2147473384"/>
            <ac:spMk id="7" creationId="{4FDF11D6-8E69-6648-8449-5AD27FA9BD3D}"/>
          </ac:spMkLst>
        </pc:spChg>
        <pc:spChg chg="add mod ord">
          <ac:chgData name="Siragusa, Gianmarco" userId="6df33696-2e6a-41ba-bc49-d574214408bc" providerId="ADAL" clId="{325ED805-F480-4EFF-B64B-F815BB4CD031}" dt="2024-10-22T08:00:34.601" v="908" actId="1076"/>
          <ac:spMkLst>
            <pc:docMk/>
            <pc:sldMk cId="3478167086" sldId="2147473384"/>
            <ac:spMk id="10" creationId="{F42D87E8-90B2-3ECC-EB90-6BC77077C841}"/>
          </ac:spMkLst>
        </pc:spChg>
        <pc:spChg chg="add mod ord">
          <ac:chgData name="Siragusa, Gianmarco" userId="6df33696-2e6a-41ba-bc49-d574214408bc" providerId="ADAL" clId="{325ED805-F480-4EFF-B64B-F815BB4CD031}" dt="2024-10-22T08:00:34.601" v="908" actId="1076"/>
          <ac:spMkLst>
            <pc:docMk/>
            <pc:sldMk cId="3478167086" sldId="2147473384"/>
            <ac:spMk id="11" creationId="{403B3FD8-D268-5DE4-3536-F7D22D70DDC7}"/>
          </ac:spMkLst>
        </pc:spChg>
        <pc:spChg chg="add mod ord">
          <ac:chgData name="Siragusa, Gianmarco" userId="6df33696-2e6a-41ba-bc49-d574214408bc" providerId="ADAL" clId="{325ED805-F480-4EFF-B64B-F815BB4CD031}" dt="2024-10-22T08:00:34.601" v="908" actId="1076"/>
          <ac:spMkLst>
            <pc:docMk/>
            <pc:sldMk cId="3478167086" sldId="2147473384"/>
            <ac:spMk id="12" creationId="{CA020437-7F30-C463-E5AF-A53C9ECA797D}"/>
          </ac:spMkLst>
        </pc:spChg>
        <pc:spChg chg="del">
          <ac:chgData name="Siragusa, Gianmarco" userId="6df33696-2e6a-41ba-bc49-d574214408bc" providerId="ADAL" clId="{325ED805-F480-4EFF-B64B-F815BB4CD031}" dt="2024-10-21T18:18:15.718" v="632" actId="478"/>
          <ac:spMkLst>
            <pc:docMk/>
            <pc:sldMk cId="3478167086" sldId="2147473384"/>
            <ac:spMk id="16" creationId="{C3256EE2-24B5-E52C-360E-8010C0718D1E}"/>
          </ac:spMkLst>
        </pc:spChg>
        <pc:spChg chg="del">
          <ac:chgData name="Siragusa, Gianmarco" userId="6df33696-2e6a-41ba-bc49-d574214408bc" providerId="ADAL" clId="{325ED805-F480-4EFF-B64B-F815BB4CD031}" dt="2024-10-21T18:18:15.718" v="632" actId="478"/>
          <ac:spMkLst>
            <pc:docMk/>
            <pc:sldMk cId="3478167086" sldId="2147473384"/>
            <ac:spMk id="17" creationId="{C001D77A-0B39-71C4-DD3E-1FFB397BD06A}"/>
          </ac:spMkLst>
        </pc:spChg>
        <pc:spChg chg="del">
          <ac:chgData name="Siragusa, Gianmarco" userId="6df33696-2e6a-41ba-bc49-d574214408bc" providerId="ADAL" clId="{325ED805-F480-4EFF-B64B-F815BB4CD031}" dt="2024-10-21T18:18:16.820" v="633" actId="478"/>
          <ac:spMkLst>
            <pc:docMk/>
            <pc:sldMk cId="3478167086" sldId="2147473384"/>
            <ac:spMk id="20" creationId="{3B375065-4FD4-A9B1-72E0-545F98747611}"/>
          </ac:spMkLst>
        </pc:spChg>
        <pc:spChg chg="del">
          <ac:chgData name="Siragusa, Gianmarco" userId="6df33696-2e6a-41ba-bc49-d574214408bc" providerId="ADAL" clId="{325ED805-F480-4EFF-B64B-F815BB4CD031}" dt="2024-10-21T18:18:18.995" v="635" actId="478"/>
          <ac:spMkLst>
            <pc:docMk/>
            <pc:sldMk cId="3478167086" sldId="2147473384"/>
            <ac:spMk id="21" creationId="{43F2C16C-AD79-D51F-ABFB-D6293B26C48E}"/>
          </ac:spMkLst>
        </pc:spChg>
        <pc:picChg chg="add mod">
          <ac:chgData name="Siragusa, Gianmarco" userId="6df33696-2e6a-41ba-bc49-d574214408bc" providerId="ADAL" clId="{325ED805-F480-4EFF-B64B-F815BB4CD031}" dt="2024-10-21T18:21:30.952" v="662"/>
          <ac:picMkLst>
            <pc:docMk/>
            <pc:sldMk cId="3478167086" sldId="2147473384"/>
            <ac:picMk id="13" creationId="{997AC83F-1BA8-5245-5E2B-EF7B8EF6E858}"/>
          </ac:picMkLst>
        </pc:picChg>
        <pc:picChg chg="add mod">
          <ac:chgData name="Siragusa, Gianmarco" userId="6df33696-2e6a-41ba-bc49-d574214408bc" providerId="ADAL" clId="{325ED805-F480-4EFF-B64B-F815BB4CD031}" dt="2024-10-21T18:21:30.952" v="662"/>
          <ac:picMkLst>
            <pc:docMk/>
            <pc:sldMk cId="3478167086" sldId="2147473384"/>
            <ac:picMk id="14" creationId="{89C6C4F3-A60F-E68F-0E88-A5CE141693C3}"/>
          </ac:picMkLst>
        </pc:picChg>
        <pc:picChg chg="add mod">
          <ac:chgData name="Siragusa, Gianmarco" userId="6df33696-2e6a-41ba-bc49-d574214408bc" providerId="ADAL" clId="{325ED805-F480-4EFF-B64B-F815BB4CD031}" dt="2024-10-22T08:00:34.601" v="908" actId="1076"/>
          <ac:picMkLst>
            <pc:docMk/>
            <pc:sldMk cId="3478167086" sldId="2147473384"/>
            <ac:picMk id="15" creationId="{3C7E47D6-0837-F977-BF9C-85D0B9030531}"/>
          </ac:picMkLst>
        </pc:picChg>
        <pc:picChg chg="del">
          <ac:chgData name="Siragusa, Gianmarco" userId="6df33696-2e6a-41ba-bc49-d574214408bc" providerId="ADAL" clId="{325ED805-F480-4EFF-B64B-F815BB4CD031}" dt="2024-10-21T18:18:17.722" v="634" actId="478"/>
          <ac:picMkLst>
            <pc:docMk/>
            <pc:sldMk cId="3478167086" sldId="2147473384"/>
            <ac:picMk id="18" creationId="{7F7B3FC0-7C17-D110-1E34-121072548B0F}"/>
          </ac:picMkLst>
        </pc:picChg>
        <pc:picChg chg="add mod">
          <ac:chgData name="Siragusa, Gianmarco" userId="6df33696-2e6a-41ba-bc49-d574214408bc" providerId="ADAL" clId="{325ED805-F480-4EFF-B64B-F815BB4CD031}" dt="2024-10-22T08:00:34.601" v="908" actId="1076"/>
          <ac:picMkLst>
            <pc:docMk/>
            <pc:sldMk cId="3478167086" sldId="2147473384"/>
            <ac:picMk id="19" creationId="{285B9898-DE58-9560-0A70-700C2217C137}"/>
          </ac:picMkLst>
        </pc:picChg>
        <pc:picChg chg="add mod">
          <ac:chgData name="Siragusa, Gianmarco" userId="6df33696-2e6a-41ba-bc49-d574214408bc" providerId="ADAL" clId="{325ED805-F480-4EFF-B64B-F815BB4CD031}" dt="2024-10-22T08:00:57.031" v="912" actId="1038"/>
          <ac:picMkLst>
            <pc:docMk/>
            <pc:sldMk cId="3478167086" sldId="2147473384"/>
            <ac:picMk id="22" creationId="{E8019D80-A353-E87C-A962-369B93E580CB}"/>
          </ac:picMkLst>
        </pc:picChg>
        <pc:picChg chg="del">
          <ac:chgData name="Siragusa, Gianmarco" userId="6df33696-2e6a-41ba-bc49-d574214408bc" providerId="ADAL" clId="{325ED805-F480-4EFF-B64B-F815BB4CD031}" dt="2024-10-21T18:18:22.733" v="636" actId="478"/>
          <ac:picMkLst>
            <pc:docMk/>
            <pc:sldMk cId="3478167086" sldId="2147473384"/>
            <ac:picMk id="27" creationId="{8E0E2731-1424-BBFD-E140-19D31C7B1831}"/>
          </ac:picMkLst>
        </pc:picChg>
        <pc:picChg chg="del">
          <ac:chgData name="Siragusa, Gianmarco" userId="6df33696-2e6a-41ba-bc49-d574214408bc" providerId="ADAL" clId="{325ED805-F480-4EFF-B64B-F815BB4CD031}" dt="2024-10-21T18:18:22.733" v="636" actId="478"/>
          <ac:picMkLst>
            <pc:docMk/>
            <pc:sldMk cId="3478167086" sldId="2147473384"/>
            <ac:picMk id="29" creationId="{F3489BB9-E734-2F4B-5A0B-516C23DE440B}"/>
          </ac:picMkLst>
        </pc:picChg>
      </pc:sldChg>
      <pc:sldChg chg="add del">
        <pc:chgData name="Siragusa, Gianmarco" userId="6df33696-2e6a-41ba-bc49-d574214408bc" providerId="ADAL" clId="{325ED805-F480-4EFF-B64B-F815BB4CD031}" dt="2024-10-22T08:06:54.679" v="980" actId="47"/>
        <pc:sldMkLst>
          <pc:docMk/>
          <pc:sldMk cId="1551583693" sldId="2147473385"/>
        </pc:sldMkLst>
      </pc:sldChg>
      <pc:sldChg chg="addSp delSp modSp add mod setBg">
        <pc:chgData name="Siragusa, Gianmarco" userId="6df33696-2e6a-41ba-bc49-d574214408bc" providerId="ADAL" clId="{325ED805-F480-4EFF-B64B-F815BB4CD031}" dt="2024-10-22T13:37:30.937" v="1716"/>
        <pc:sldMkLst>
          <pc:docMk/>
          <pc:sldMk cId="408318439" sldId="2147473386"/>
        </pc:sldMkLst>
        <pc:spChg chg="add mod">
          <ac:chgData name="Siragusa, Gianmarco" userId="6df33696-2e6a-41ba-bc49-d574214408bc" providerId="ADAL" clId="{325ED805-F480-4EFF-B64B-F815BB4CD031}" dt="2024-10-22T07:57:29.434" v="837" actId="164"/>
          <ac:spMkLst>
            <pc:docMk/>
            <pc:sldMk cId="408318439" sldId="2147473386"/>
            <ac:spMk id="5" creationId="{060D581C-3158-62EE-8802-AE36BB0569F8}"/>
          </ac:spMkLst>
        </pc:spChg>
        <pc:spChg chg="mod">
          <ac:chgData name="Siragusa, Gianmarco" userId="6df33696-2e6a-41ba-bc49-d574214408bc" providerId="ADAL" clId="{325ED805-F480-4EFF-B64B-F815BB4CD031}" dt="2024-10-21T20:30:06.043" v="781" actId="1076"/>
          <ac:spMkLst>
            <pc:docMk/>
            <pc:sldMk cId="408318439" sldId="2147473386"/>
            <ac:spMk id="13" creationId="{4126E70F-D872-C3A2-B279-7EB4702DE085}"/>
          </ac:spMkLst>
        </pc:spChg>
        <pc:spChg chg="del">
          <ac:chgData name="Siragusa, Gianmarco" userId="6df33696-2e6a-41ba-bc49-d574214408bc" providerId="ADAL" clId="{325ED805-F480-4EFF-B64B-F815BB4CD031}" dt="2024-10-21T20:29:50.309" v="776" actId="478"/>
          <ac:spMkLst>
            <pc:docMk/>
            <pc:sldMk cId="408318439" sldId="2147473386"/>
            <ac:spMk id="14" creationId="{E12F5498-541B-9ED4-99F8-31C6C614D929}"/>
          </ac:spMkLst>
        </pc:spChg>
        <pc:spChg chg="mod">
          <ac:chgData name="Siragusa, Gianmarco" userId="6df33696-2e6a-41ba-bc49-d574214408bc" providerId="ADAL" clId="{325ED805-F480-4EFF-B64B-F815BB4CD031}" dt="2024-10-21T20:30:06.043" v="781" actId="1076"/>
          <ac:spMkLst>
            <pc:docMk/>
            <pc:sldMk cId="408318439" sldId="2147473386"/>
            <ac:spMk id="17" creationId="{DDF130E1-8303-E7A5-B5B2-DE9BF145AAAB}"/>
          </ac:spMkLst>
        </pc:spChg>
        <pc:spChg chg="mod">
          <ac:chgData name="Siragusa, Gianmarco" userId="6df33696-2e6a-41ba-bc49-d574214408bc" providerId="ADAL" clId="{325ED805-F480-4EFF-B64B-F815BB4CD031}" dt="2024-10-21T20:30:06.043" v="781" actId="1076"/>
          <ac:spMkLst>
            <pc:docMk/>
            <pc:sldMk cId="408318439" sldId="2147473386"/>
            <ac:spMk id="18" creationId="{6F634034-5422-5062-61CF-540F71C9BFE0}"/>
          </ac:spMkLst>
        </pc:spChg>
        <pc:spChg chg="del">
          <ac:chgData name="Siragusa, Gianmarco" userId="6df33696-2e6a-41ba-bc49-d574214408bc" providerId="ADAL" clId="{325ED805-F480-4EFF-B64B-F815BB4CD031}" dt="2024-10-21T20:29:52.424" v="777" actId="478"/>
          <ac:spMkLst>
            <pc:docMk/>
            <pc:sldMk cId="408318439" sldId="2147473386"/>
            <ac:spMk id="19" creationId="{FAA4F892-36A8-652A-CAE8-FE4E13D6DCA4}"/>
          </ac:spMkLst>
        </pc:spChg>
        <pc:spChg chg="mod">
          <ac:chgData name="Siragusa, Gianmarco" userId="6df33696-2e6a-41ba-bc49-d574214408bc" providerId="ADAL" clId="{325ED805-F480-4EFF-B64B-F815BB4CD031}" dt="2024-10-21T20:30:06.043" v="781" actId="1076"/>
          <ac:spMkLst>
            <pc:docMk/>
            <pc:sldMk cId="408318439" sldId="2147473386"/>
            <ac:spMk id="22" creationId="{7E02B4A7-B038-6666-1D64-D3440C176ACA}"/>
          </ac:spMkLst>
        </pc:spChg>
        <pc:spChg chg="mod">
          <ac:chgData name="Siragusa, Gianmarco" userId="6df33696-2e6a-41ba-bc49-d574214408bc" providerId="ADAL" clId="{325ED805-F480-4EFF-B64B-F815BB4CD031}" dt="2024-10-21T20:30:06.043" v="781" actId="1076"/>
          <ac:spMkLst>
            <pc:docMk/>
            <pc:sldMk cId="408318439" sldId="2147473386"/>
            <ac:spMk id="23" creationId="{1F550656-F519-BD56-CF19-47368C082506}"/>
          </ac:spMkLst>
        </pc:spChg>
        <pc:spChg chg="mod">
          <ac:chgData name="Siragusa, Gianmarco" userId="6df33696-2e6a-41ba-bc49-d574214408bc" providerId="ADAL" clId="{325ED805-F480-4EFF-B64B-F815BB4CD031}" dt="2024-10-21T20:30:06.043" v="781" actId="1076"/>
          <ac:spMkLst>
            <pc:docMk/>
            <pc:sldMk cId="408318439" sldId="2147473386"/>
            <ac:spMk id="24" creationId="{CE9B7510-354D-A8FF-7B52-188403C7EBE7}"/>
          </ac:spMkLst>
        </pc:spChg>
        <pc:spChg chg="mod">
          <ac:chgData name="Siragusa, Gianmarco" userId="6df33696-2e6a-41ba-bc49-d574214408bc" providerId="ADAL" clId="{325ED805-F480-4EFF-B64B-F815BB4CD031}" dt="2024-10-21T20:30:06.043" v="781" actId="1076"/>
          <ac:spMkLst>
            <pc:docMk/>
            <pc:sldMk cId="408318439" sldId="2147473386"/>
            <ac:spMk id="25" creationId="{9D3005A2-2871-EA93-8F20-CD8CF8F19722}"/>
          </ac:spMkLst>
        </pc:spChg>
        <pc:spChg chg="mod">
          <ac:chgData name="Siragusa, Gianmarco" userId="6df33696-2e6a-41ba-bc49-d574214408bc" providerId="ADAL" clId="{325ED805-F480-4EFF-B64B-F815BB4CD031}" dt="2024-10-21T20:30:06.043" v="781" actId="1076"/>
          <ac:spMkLst>
            <pc:docMk/>
            <pc:sldMk cId="408318439" sldId="2147473386"/>
            <ac:spMk id="27" creationId="{4FEC0D1A-DD7D-8DB0-86E0-8F18CDA5975B}"/>
          </ac:spMkLst>
        </pc:spChg>
        <pc:spChg chg="mod">
          <ac:chgData name="Siragusa, Gianmarco" userId="6df33696-2e6a-41ba-bc49-d574214408bc" providerId="ADAL" clId="{325ED805-F480-4EFF-B64B-F815BB4CD031}" dt="2024-10-21T20:30:06.043" v="781" actId="1076"/>
          <ac:spMkLst>
            <pc:docMk/>
            <pc:sldMk cId="408318439" sldId="2147473386"/>
            <ac:spMk id="28" creationId="{C40D2212-44BE-E620-7C5E-86B89D1FE5B1}"/>
          </ac:spMkLst>
        </pc:spChg>
        <pc:spChg chg="mod">
          <ac:chgData name="Siragusa, Gianmarco" userId="6df33696-2e6a-41ba-bc49-d574214408bc" providerId="ADAL" clId="{325ED805-F480-4EFF-B64B-F815BB4CD031}" dt="2024-10-21T20:30:06.043" v="781" actId="1076"/>
          <ac:spMkLst>
            <pc:docMk/>
            <pc:sldMk cId="408318439" sldId="2147473386"/>
            <ac:spMk id="29" creationId="{0B170AC9-720F-1E30-B73C-332BC78977B8}"/>
          </ac:spMkLst>
        </pc:spChg>
        <pc:spChg chg="add mod ord">
          <ac:chgData name="Siragusa, Gianmarco" userId="6df33696-2e6a-41ba-bc49-d574214408bc" providerId="ADAL" clId="{325ED805-F480-4EFF-B64B-F815BB4CD031}" dt="2024-10-22T07:57:29.434" v="837" actId="164"/>
          <ac:spMkLst>
            <pc:docMk/>
            <pc:sldMk cId="408318439" sldId="2147473386"/>
            <ac:spMk id="31" creationId="{40AB41D2-9952-7979-8039-23A2724EE02D}"/>
          </ac:spMkLst>
        </pc:spChg>
        <pc:grpChg chg="del">
          <ac:chgData name="Siragusa, Gianmarco" userId="6df33696-2e6a-41ba-bc49-d574214408bc" providerId="ADAL" clId="{325ED805-F480-4EFF-B64B-F815BB4CD031}" dt="2024-10-21T20:29:54.629" v="778" actId="478"/>
          <ac:grpSpMkLst>
            <pc:docMk/>
            <pc:sldMk cId="408318439" sldId="2147473386"/>
            <ac:grpSpMk id="7" creationId="{4B49CC69-892C-4F59-8B67-61A4C56268C0}"/>
          </ac:grpSpMkLst>
        </pc:grpChg>
        <pc:grpChg chg="add del mod">
          <ac:chgData name="Siragusa, Gianmarco" userId="6df33696-2e6a-41ba-bc49-d574214408bc" providerId="ADAL" clId="{325ED805-F480-4EFF-B64B-F815BB4CD031}" dt="2024-10-21T20:31:25.454" v="787" actId="478"/>
          <ac:grpSpMkLst>
            <pc:docMk/>
            <pc:sldMk cId="408318439" sldId="2147473386"/>
            <ac:grpSpMk id="9" creationId="{C4327B4B-8D5F-E6A4-AD8A-C5C0261B2D81}"/>
          </ac:grpSpMkLst>
        </pc:grpChg>
        <pc:grpChg chg="del">
          <ac:chgData name="Siragusa, Gianmarco" userId="6df33696-2e6a-41ba-bc49-d574214408bc" providerId="ADAL" clId="{325ED805-F480-4EFF-B64B-F815BB4CD031}" dt="2024-10-21T20:29:54.629" v="778" actId="478"/>
          <ac:grpSpMkLst>
            <pc:docMk/>
            <pc:sldMk cId="408318439" sldId="2147473386"/>
            <ac:grpSpMk id="20" creationId="{B2627D18-9FDE-DC15-B055-416BDABBA024}"/>
          </ac:grpSpMkLst>
        </pc:grpChg>
        <pc:grpChg chg="add del mod">
          <ac:chgData name="Siragusa, Gianmarco" userId="6df33696-2e6a-41ba-bc49-d574214408bc" providerId="ADAL" clId="{325ED805-F480-4EFF-B64B-F815BB4CD031}" dt="2024-10-21T20:31:30.601" v="789" actId="478"/>
          <ac:grpSpMkLst>
            <pc:docMk/>
            <pc:sldMk cId="408318439" sldId="2147473386"/>
            <ac:grpSpMk id="21" creationId="{3B9FB9B2-D087-B208-8DD3-DEB4B39DE686}"/>
          </ac:grpSpMkLst>
        </pc:grpChg>
        <pc:grpChg chg="add mod">
          <ac:chgData name="Siragusa, Gianmarco" userId="6df33696-2e6a-41ba-bc49-d574214408bc" providerId="ADAL" clId="{325ED805-F480-4EFF-B64B-F815BB4CD031}" dt="2024-10-22T07:57:32.649" v="839" actId="12788"/>
          <ac:grpSpMkLst>
            <pc:docMk/>
            <pc:sldMk cId="408318439" sldId="2147473386"/>
            <ac:grpSpMk id="32" creationId="{9CAB5CA3-2E04-A376-598B-A55D09BA73EC}"/>
          </ac:grpSpMkLst>
        </pc:grpChg>
        <pc:picChg chg="add del mod">
          <ac:chgData name="Siragusa, Gianmarco" userId="6df33696-2e6a-41ba-bc49-d574214408bc" providerId="ADAL" clId="{325ED805-F480-4EFF-B64B-F815BB4CD031}" dt="2024-10-22T13:07:03.675" v="1691" actId="478"/>
          <ac:picMkLst>
            <pc:docMk/>
            <pc:sldMk cId="408318439" sldId="2147473386"/>
            <ac:picMk id="30" creationId="{92362DFB-CCFF-F53D-346F-C5157CC794E8}"/>
          </ac:picMkLst>
        </pc:picChg>
        <pc:picChg chg="add mod">
          <ac:chgData name="Siragusa, Gianmarco" userId="6df33696-2e6a-41ba-bc49-d574214408bc" providerId="ADAL" clId="{325ED805-F480-4EFF-B64B-F815BB4CD031}" dt="2024-10-22T08:21:05.391" v="1121"/>
          <ac:picMkLst>
            <pc:docMk/>
            <pc:sldMk cId="408318439" sldId="2147473386"/>
            <ac:picMk id="33" creationId="{4FC23F82-76F8-CCB7-3B9C-6661AB05C4ED}"/>
          </ac:picMkLst>
        </pc:picChg>
        <pc:picChg chg="add del mod">
          <ac:chgData name="Siragusa, Gianmarco" userId="6df33696-2e6a-41ba-bc49-d574214408bc" providerId="ADAL" clId="{325ED805-F480-4EFF-B64B-F815BB4CD031}" dt="2024-10-22T13:33:47.581" v="1695" actId="478"/>
          <ac:picMkLst>
            <pc:docMk/>
            <pc:sldMk cId="408318439" sldId="2147473386"/>
            <ac:picMk id="3074" creationId="{61A5006A-D964-B96D-8C7B-C026D6576D13}"/>
          </ac:picMkLst>
        </pc:picChg>
        <pc:picChg chg="add del mod">
          <ac:chgData name="Siragusa, Gianmarco" userId="6df33696-2e6a-41ba-bc49-d574214408bc" providerId="ADAL" clId="{325ED805-F480-4EFF-B64B-F815BB4CD031}" dt="2024-10-22T13:34:43.561" v="1699" actId="478"/>
          <ac:picMkLst>
            <pc:docMk/>
            <pc:sldMk cId="408318439" sldId="2147473386"/>
            <ac:picMk id="3076" creationId="{E1222B79-6CC8-AAF3-E67E-D569746CB01A}"/>
          </ac:picMkLst>
        </pc:picChg>
        <pc:picChg chg="add del mod">
          <ac:chgData name="Siragusa, Gianmarco" userId="6df33696-2e6a-41ba-bc49-d574214408bc" providerId="ADAL" clId="{325ED805-F480-4EFF-B64B-F815BB4CD031}" dt="2024-10-22T13:35:33.176" v="1704" actId="478"/>
          <ac:picMkLst>
            <pc:docMk/>
            <pc:sldMk cId="408318439" sldId="2147473386"/>
            <ac:picMk id="3078" creationId="{A4D14154-F39B-7292-4DBD-B8B67039CBCE}"/>
          </ac:picMkLst>
        </pc:picChg>
        <pc:cxnChg chg="add del mod">
          <ac:chgData name="Siragusa, Gianmarco" userId="6df33696-2e6a-41ba-bc49-d574214408bc" providerId="ADAL" clId="{325ED805-F480-4EFF-B64B-F815BB4CD031}" dt="2024-10-21T20:29:57.856" v="780" actId="478"/>
          <ac:cxnSpMkLst>
            <pc:docMk/>
            <pc:sldMk cId="408318439" sldId="2147473386"/>
            <ac:cxnSpMk id="6" creationId="{3AC6F774-9764-B5AE-8F2E-9E9872DE178F}"/>
          </ac:cxnSpMkLst>
        </pc:cxnChg>
      </pc:sldChg>
      <pc:sldChg chg="addSp delSp modSp add mod ord">
        <pc:chgData name="Siragusa, Gianmarco" userId="6df33696-2e6a-41ba-bc49-d574214408bc" providerId="ADAL" clId="{325ED805-F480-4EFF-B64B-F815BB4CD031}" dt="2024-10-22T13:39:58.872" v="1728" actId="14100"/>
        <pc:sldMkLst>
          <pc:docMk/>
          <pc:sldMk cId="322576534" sldId="2147473387"/>
        </pc:sldMkLst>
        <pc:spChg chg="mod">
          <ac:chgData name="Siragusa, Gianmarco" userId="6df33696-2e6a-41ba-bc49-d574214408bc" providerId="ADAL" clId="{325ED805-F480-4EFF-B64B-F815BB4CD031}" dt="2024-10-22T13:39:47.347" v="1726" actId="12"/>
          <ac:spMkLst>
            <pc:docMk/>
            <pc:sldMk cId="322576534" sldId="2147473387"/>
            <ac:spMk id="2" creationId="{2A8746B6-E49B-52D8-072C-4453AC5AE516}"/>
          </ac:spMkLst>
        </pc:spChg>
        <pc:spChg chg="add del mod">
          <ac:chgData name="Siragusa, Gianmarco" userId="6df33696-2e6a-41ba-bc49-d574214408bc" providerId="ADAL" clId="{325ED805-F480-4EFF-B64B-F815BB4CD031}" dt="2024-10-22T13:39:47.347" v="1726" actId="12"/>
          <ac:spMkLst>
            <pc:docMk/>
            <pc:sldMk cId="322576534" sldId="2147473387"/>
            <ac:spMk id="5" creationId="{11EF8D98-DED0-9F90-B998-8F75D4391AB5}"/>
          </ac:spMkLst>
        </pc:spChg>
        <pc:spChg chg="add mod">
          <ac:chgData name="Siragusa, Gianmarco" userId="6df33696-2e6a-41ba-bc49-d574214408bc" providerId="ADAL" clId="{325ED805-F480-4EFF-B64B-F815BB4CD031}" dt="2024-10-22T08:02:34.882" v="944" actId="12789"/>
          <ac:spMkLst>
            <pc:docMk/>
            <pc:sldMk cId="322576534" sldId="2147473387"/>
            <ac:spMk id="6" creationId="{D8AAA097-0437-C6C7-82E2-C31F80E98FC0}"/>
          </ac:spMkLst>
        </pc:spChg>
        <pc:spChg chg="mod">
          <ac:chgData name="Siragusa, Gianmarco" userId="6df33696-2e6a-41ba-bc49-d574214408bc" providerId="ADAL" clId="{325ED805-F480-4EFF-B64B-F815BB4CD031}" dt="2024-10-22T10:13:35.438" v="1462" actId="12"/>
          <ac:spMkLst>
            <pc:docMk/>
            <pc:sldMk cId="322576534" sldId="2147473387"/>
            <ac:spMk id="7" creationId="{4FDF11D6-8E69-6648-8449-5AD27FA9BD3D}"/>
          </ac:spMkLst>
        </pc:spChg>
        <pc:spChg chg="del">
          <ac:chgData name="Siragusa, Gianmarco" userId="6df33696-2e6a-41ba-bc49-d574214408bc" providerId="ADAL" clId="{325ED805-F480-4EFF-B64B-F815BB4CD031}" dt="2024-10-22T08:01:12.108" v="914" actId="478"/>
          <ac:spMkLst>
            <pc:docMk/>
            <pc:sldMk cId="322576534" sldId="2147473387"/>
            <ac:spMk id="8" creationId="{F1ED9E9D-03F8-8066-6FCA-CCD5ACCA4B4B}"/>
          </ac:spMkLst>
        </pc:spChg>
        <pc:spChg chg="mod">
          <ac:chgData name="Siragusa, Gianmarco" userId="6df33696-2e6a-41ba-bc49-d574214408bc" providerId="ADAL" clId="{325ED805-F480-4EFF-B64B-F815BB4CD031}" dt="2024-10-22T13:39:21.748" v="1722" actId="14100"/>
          <ac:spMkLst>
            <pc:docMk/>
            <pc:sldMk cId="322576534" sldId="2147473387"/>
            <ac:spMk id="9" creationId="{9DDFF07B-809F-BADB-DAB1-1A39B2A053A7}"/>
          </ac:spMkLst>
        </pc:spChg>
        <pc:spChg chg="mod">
          <ac:chgData name="Siragusa, Gianmarco" userId="6df33696-2e6a-41ba-bc49-d574214408bc" providerId="ADAL" clId="{325ED805-F480-4EFF-B64B-F815BB4CD031}" dt="2024-10-22T10:13:59.401" v="1471" actId="12"/>
          <ac:spMkLst>
            <pc:docMk/>
            <pc:sldMk cId="322576534" sldId="2147473387"/>
            <ac:spMk id="10" creationId="{F42D87E8-90B2-3ECC-EB90-6BC77077C841}"/>
          </ac:spMkLst>
        </pc:spChg>
        <pc:spChg chg="mod">
          <ac:chgData name="Siragusa, Gianmarco" userId="6df33696-2e6a-41ba-bc49-d574214408bc" providerId="ADAL" clId="{325ED805-F480-4EFF-B64B-F815BB4CD031}" dt="2024-10-22T13:39:58.872" v="1728" actId="14100"/>
          <ac:spMkLst>
            <pc:docMk/>
            <pc:sldMk cId="322576534" sldId="2147473387"/>
            <ac:spMk id="11" creationId="{403B3FD8-D268-5DE4-3536-F7D22D70DDC7}"/>
          </ac:spMkLst>
        </pc:spChg>
        <pc:spChg chg="mod">
          <ac:chgData name="Siragusa, Gianmarco" userId="6df33696-2e6a-41ba-bc49-d574214408bc" providerId="ADAL" clId="{325ED805-F480-4EFF-B64B-F815BB4CD031}" dt="2024-10-22T13:39:58.872" v="1728" actId="14100"/>
          <ac:spMkLst>
            <pc:docMk/>
            <pc:sldMk cId="322576534" sldId="2147473387"/>
            <ac:spMk id="12" creationId="{CA020437-7F30-C463-E5AF-A53C9ECA797D}"/>
          </ac:spMkLst>
        </pc:spChg>
        <pc:spChg chg="add mod">
          <ac:chgData name="Siragusa, Gianmarco" userId="6df33696-2e6a-41ba-bc49-d574214408bc" providerId="ADAL" clId="{325ED805-F480-4EFF-B64B-F815BB4CD031}" dt="2024-10-22T08:02:34.882" v="944" actId="12789"/>
          <ac:spMkLst>
            <pc:docMk/>
            <pc:sldMk cId="322576534" sldId="2147473387"/>
            <ac:spMk id="14" creationId="{5E59F33E-8CDB-9344-5D8B-27CCFC4D5424}"/>
          </ac:spMkLst>
        </pc:spChg>
        <pc:picChg chg="del mod">
          <ac:chgData name="Siragusa, Gianmarco" userId="6df33696-2e6a-41ba-bc49-d574214408bc" providerId="ADAL" clId="{325ED805-F480-4EFF-B64B-F815BB4CD031}" dt="2024-10-22T13:39:54.452" v="1727" actId="478"/>
          <ac:picMkLst>
            <pc:docMk/>
            <pc:sldMk cId="322576534" sldId="2147473387"/>
            <ac:picMk id="15" creationId="{3C7E47D6-0837-F977-BF9C-85D0B9030531}"/>
          </ac:picMkLst>
        </pc:picChg>
        <pc:picChg chg="del mod">
          <ac:chgData name="Siragusa, Gianmarco" userId="6df33696-2e6a-41ba-bc49-d574214408bc" providerId="ADAL" clId="{325ED805-F480-4EFF-B64B-F815BB4CD031}" dt="2024-10-22T13:39:54.452" v="1727" actId="478"/>
          <ac:picMkLst>
            <pc:docMk/>
            <pc:sldMk cId="322576534" sldId="2147473387"/>
            <ac:picMk id="19" creationId="{285B9898-DE58-9560-0A70-700C2217C137}"/>
          </ac:picMkLst>
        </pc:picChg>
        <pc:picChg chg="del">
          <ac:chgData name="Siragusa, Gianmarco" userId="6df33696-2e6a-41ba-bc49-d574214408bc" providerId="ADAL" clId="{325ED805-F480-4EFF-B64B-F815BB4CD031}" dt="2024-10-22T10:14:03.865" v="1472" actId="478"/>
          <ac:picMkLst>
            <pc:docMk/>
            <pc:sldMk cId="322576534" sldId="2147473387"/>
            <ac:picMk id="22" creationId="{E8019D80-A353-E87C-A962-369B93E580CB}"/>
          </ac:picMkLst>
        </pc:picChg>
        <pc:cxnChg chg="add mod">
          <ac:chgData name="Siragusa, Gianmarco" userId="6df33696-2e6a-41ba-bc49-d574214408bc" providerId="ADAL" clId="{325ED805-F480-4EFF-B64B-F815BB4CD031}" dt="2024-10-22T10:14:16.716" v="1475" actId="14100"/>
          <ac:cxnSpMkLst>
            <pc:docMk/>
            <pc:sldMk cId="322576534" sldId="2147473387"/>
            <ac:cxnSpMk id="16" creationId="{DF2FCE6A-CA73-5C9F-468F-ED71643EF57A}"/>
          </ac:cxnSpMkLst>
        </pc:cxnChg>
      </pc:sldChg>
      <pc:sldChg chg="addSp delSp modSp add mod">
        <pc:chgData name="Siragusa, Gianmarco" userId="6df33696-2e6a-41ba-bc49-d574214408bc" providerId="ADAL" clId="{325ED805-F480-4EFF-B64B-F815BB4CD031}" dt="2024-10-22T10:17:16.078" v="1525" actId="1035"/>
        <pc:sldMkLst>
          <pc:docMk/>
          <pc:sldMk cId="3568517890" sldId="2147473388"/>
        </pc:sldMkLst>
        <pc:spChg chg="mod">
          <ac:chgData name="Siragusa, Gianmarco" userId="6df33696-2e6a-41ba-bc49-d574214408bc" providerId="ADAL" clId="{325ED805-F480-4EFF-B64B-F815BB4CD031}" dt="2024-10-22T08:14:36.939" v="1001" actId="12789"/>
          <ac:spMkLst>
            <pc:docMk/>
            <pc:sldMk cId="3568517890" sldId="2147473388"/>
            <ac:spMk id="10" creationId="{E3AE9EC2-36B1-70D4-5D1F-A26B308024B4}"/>
          </ac:spMkLst>
        </pc:spChg>
        <pc:spChg chg="del mod">
          <ac:chgData name="Siragusa, Gianmarco" userId="6df33696-2e6a-41ba-bc49-d574214408bc" providerId="ADAL" clId="{325ED805-F480-4EFF-B64B-F815BB4CD031}" dt="2024-10-22T08:20:46.634" v="1119" actId="478"/>
          <ac:spMkLst>
            <pc:docMk/>
            <pc:sldMk cId="3568517890" sldId="2147473388"/>
            <ac:spMk id="11" creationId="{A8582A99-6108-4E72-9ADC-4A3D9E5AECE7}"/>
          </ac:spMkLst>
        </pc:spChg>
        <pc:spChg chg="mod">
          <ac:chgData name="Siragusa, Gianmarco" userId="6df33696-2e6a-41ba-bc49-d574214408bc" providerId="ADAL" clId="{325ED805-F480-4EFF-B64B-F815BB4CD031}" dt="2024-10-22T08:20:35.099" v="1117"/>
          <ac:spMkLst>
            <pc:docMk/>
            <pc:sldMk cId="3568517890" sldId="2147473388"/>
            <ac:spMk id="13" creationId="{5A094694-1AC8-B199-BCCD-22AED45C4A7C}"/>
          </ac:spMkLst>
        </pc:spChg>
        <pc:spChg chg="mod">
          <ac:chgData name="Siragusa, Gianmarco" userId="6df33696-2e6a-41ba-bc49-d574214408bc" providerId="ADAL" clId="{325ED805-F480-4EFF-B64B-F815BB4CD031}" dt="2024-10-22T08:20:35.099" v="1117"/>
          <ac:spMkLst>
            <pc:docMk/>
            <pc:sldMk cId="3568517890" sldId="2147473388"/>
            <ac:spMk id="14" creationId="{A156DB9C-A929-0E4A-7434-2DFF2338B817}"/>
          </ac:spMkLst>
        </pc:spChg>
        <pc:spChg chg="mod">
          <ac:chgData name="Siragusa, Gianmarco" userId="6df33696-2e6a-41ba-bc49-d574214408bc" providerId="ADAL" clId="{325ED805-F480-4EFF-B64B-F815BB4CD031}" dt="2024-10-22T08:20:35.099" v="1117"/>
          <ac:spMkLst>
            <pc:docMk/>
            <pc:sldMk cId="3568517890" sldId="2147473388"/>
            <ac:spMk id="15" creationId="{08C9E40C-8234-97AD-ECB6-D86FC1758044}"/>
          </ac:spMkLst>
        </pc:spChg>
        <pc:spChg chg="mod">
          <ac:chgData name="Siragusa, Gianmarco" userId="6df33696-2e6a-41ba-bc49-d574214408bc" providerId="ADAL" clId="{325ED805-F480-4EFF-B64B-F815BB4CD031}" dt="2024-10-22T10:17:16.078" v="1525" actId="1035"/>
          <ac:spMkLst>
            <pc:docMk/>
            <pc:sldMk cId="3568517890" sldId="2147473388"/>
            <ac:spMk id="18" creationId="{FFC52E45-0B47-86B7-E3B2-602BA1D6488F}"/>
          </ac:spMkLst>
        </pc:spChg>
        <pc:spChg chg="mod">
          <ac:chgData name="Siragusa, Gianmarco" userId="6df33696-2e6a-41ba-bc49-d574214408bc" providerId="ADAL" clId="{325ED805-F480-4EFF-B64B-F815BB4CD031}" dt="2024-10-22T08:14:36.939" v="1001" actId="12789"/>
          <ac:spMkLst>
            <pc:docMk/>
            <pc:sldMk cId="3568517890" sldId="2147473388"/>
            <ac:spMk id="20" creationId="{34820B93-C8CA-D34B-FC2E-3EF4D82DED55}"/>
          </ac:spMkLst>
        </pc:spChg>
        <pc:spChg chg="mod">
          <ac:chgData name="Siragusa, Gianmarco" userId="6df33696-2e6a-41ba-bc49-d574214408bc" providerId="ADAL" clId="{325ED805-F480-4EFF-B64B-F815BB4CD031}" dt="2024-10-22T08:14:50.930" v="1004" actId="20577"/>
          <ac:spMkLst>
            <pc:docMk/>
            <pc:sldMk cId="3568517890" sldId="2147473388"/>
            <ac:spMk id="21" creationId="{80BD8C5A-CD03-F2CE-1AEE-2C880480326C}"/>
          </ac:spMkLst>
        </pc:spChg>
        <pc:spChg chg="mod">
          <ac:chgData name="Siragusa, Gianmarco" userId="6df33696-2e6a-41ba-bc49-d574214408bc" providerId="ADAL" clId="{325ED805-F480-4EFF-B64B-F815BB4CD031}" dt="2024-10-22T08:14:33.751" v="1000" actId="12789"/>
          <ac:spMkLst>
            <pc:docMk/>
            <pc:sldMk cId="3568517890" sldId="2147473388"/>
            <ac:spMk id="23" creationId="{6C46C842-1958-9EB1-B90E-6A5E1BCEAC20}"/>
          </ac:spMkLst>
        </pc:spChg>
        <pc:grpChg chg="add mod">
          <ac:chgData name="Siragusa, Gianmarco" userId="6df33696-2e6a-41ba-bc49-d574214408bc" providerId="ADAL" clId="{325ED805-F480-4EFF-B64B-F815BB4CD031}" dt="2024-10-22T08:14:36.939" v="1001" actId="12789"/>
          <ac:grpSpMkLst>
            <pc:docMk/>
            <pc:sldMk cId="3568517890" sldId="2147473388"/>
            <ac:grpSpMk id="6" creationId="{F93C7373-9DB6-F8D0-AA6C-D1078D1EB420}"/>
          </ac:grpSpMkLst>
        </pc:grpChg>
        <pc:grpChg chg="add del mod ord">
          <ac:chgData name="Siragusa, Gianmarco" userId="6df33696-2e6a-41ba-bc49-d574214408bc" providerId="ADAL" clId="{325ED805-F480-4EFF-B64B-F815BB4CD031}" dt="2024-10-22T08:20:47.879" v="1120" actId="478"/>
          <ac:grpSpMkLst>
            <pc:docMk/>
            <pc:sldMk cId="3568517890" sldId="2147473388"/>
            <ac:grpSpMk id="7" creationId="{10739909-A17B-7278-7E47-1BC78C57BC99}"/>
          </ac:grpSpMkLst>
        </pc:grpChg>
        <pc:grpChg chg="mod">
          <ac:chgData name="Siragusa, Gianmarco" userId="6df33696-2e6a-41ba-bc49-d574214408bc" providerId="ADAL" clId="{325ED805-F480-4EFF-B64B-F815BB4CD031}" dt="2024-10-22T08:20:35.099" v="1117"/>
          <ac:grpSpMkLst>
            <pc:docMk/>
            <pc:sldMk cId="3568517890" sldId="2147473388"/>
            <ac:grpSpMk id="8" creationId="{D38F157C-DDEF-1672-D6F0-F4B7C5F0AF88}"/>
          </ac:grpSpMkLst>
        </pc:grpChg>
        <pc:grpChg chg="mod">
          <ac:chgData name="Siragusa, Gianmarco" userId="6df33696-2e6a-41ba-bc49-d574214408bc" providerId="ADAL" clId="{325ED805-F480-4EFF-B64B-F815BB4CD031}" dt="2024-10-22T08:20:35.099" v="1117"/>
          <ac:grpSpMkLst>
            <pc:docMk/>
            <pc:sldMk cId="3568517890" sldId="2147473388"/>
            <ac:grpSpMk id="12" creationId="{7EDBBB65-9733-31DC-7F62-1E5B24C04A19}"/>
          </ac:grpSpMkLst>
        </pc:grpChg>
        <pc:grpChg chg="mod">
          <ac:chgData name="Siragusa, Gianmarco" userId="6df33696-2e6a-41ba-bc49-d574214408bc" providerId="ADAL" clId="{325ED805-F480-4EFF-B64B-F815BB4CD031}" dt="2024-10-22T08:14:36.939" v="1001" actId="12789"/>
          <ac:grpSpMkLst>
            <pc:docMk/>
            <pc:sldMk cId="3568517890" sldId="2147473388"/>
            <ac:grpSpMk id="19" creationId="{764CA7CB-FD87-49C4-E89D-6D449CCC2401}"/>
          </ac:grpSpMkLst>
        </pc:grpChg>
        <pc:grpChg chg="mod">
          <ac:chgData name="Siragusa, Gianmarco" userId="6df33696-2e6a-41ba-bc49-d574214408bc" providerId="ADAL" clId="{325ED805-F480-4EFF-B64B-F815BB4CD031}" dt="2024-10-22T08:14:36.939" v="1001" actId="12789"/>
          <ac:grpSpMkLst>
            <pc:docMk/>
            <pc:sldMk cId="3568517890" sldId="2147473388"/>
            <ac:grpSpMk id="22" creationId="{9D27951A-8B37-7D93-C44A-CC2F6E2522F8}"/>
          </ac:grpSpMkLst>
        </pc:grpChg>
        <pc:graphicFrameChg chg="mod">
          <ac:chgData name="Siragusa, Gianmarco" userId="6df33696-2e6a-41ba-bc49-d574214408bc" providerId="ADAL" clId="{325ED805-F480-4EFF-B64B-F815BB4CD031}" dt="2024-10-22T08:20:35.099" v="1117"/>
          <ac:graphicFrameMkLst>
            <pc:docMk/>
            <pc:sldMk cId="3568517890" sldId="2147473388"/>
            <ac:graphicFrameMk id="9" creationId="{5BCE685E-55AB-1516-DB76-445CFEF505AA}"/>
          </ac:graphicFrameMkLst>
        </pc:graphicFrameChg>
        <pc:picChg chg="add mod">
          <ac:chgData name="Siragusa, Gianmarco" userId="6df33696-2e6a-41ba-bc49-d574214408bc" providerId="ADAL" clId="{325ED805-F480-4EFF-B64B-F815BB4CD031}" dt="2024-10-22T08:14:36.939" v="1001" actId="12789"/>
          <ac:picMkLst>
            <pc:docMk/>
            <pc:sldMk cId="3568517890" sldId="2147473388"/>
            <ac:picMk id="5" creationId="{ED63215E-42AA-0591-B2CC-3C21784DF5E2}"/>
          </ac:picMkLst>
        </pc:picChg>
        <pc:picChg chg="del">
          <ac:chgData name="Siragusa, Gianmarco" userId="6df33696-2e6a-41ba-bc49-d574214408bc" providerId="ADAL" clId="{325ED805-F480-4EFF-B64B-F815BB4CD031}" dt="2024-10-22T08:14:05.085" v="989" actId="478"/>
          <ac:picMkLst>
            <pc:docMk/>
            <pc:sldMk cId="3568517890" sldId="2147473388"/>
            <ac:picMk id="1025" creationId="{80D19E85-211E-EFFB-1C15-79FB0D3A0934}"/>
          </ac:picMkLst>
        </pc:picChg>
      </pc:sldChg>
      <pc:sldChg chg="add ord">
        <pc:chgData name="Siragusa, Gianmarco" userId="6df33696-2e6a-41ba-bc49-d574214408bc" providerId="ADAL" clId="{325ED805-F480-4EFF-B64B-F815BB4CD031}" dt="2024-10-22T08:22:06.397" v="1124"/>
        <pc:sldMkLst>
          <pc:docMk/>
          <pc:sldMk cId="3596855394" sldId="2147473389"/>
        </pc:sldMkLst>
      </pc:sldChg>
      <pc:sldChg chg="addSp delSp modSp add mod">
        <pc:chgData name="Siragusa, Gianmarco" userId="6df33696-2e6a-41ba-bc49-d574214408bc" providerId="ADAL" clId="{325ED805-F480-4EFF-B64B-F815BB4CD031}" dt="2024-10-22T13:53:33.762" v="1942" actId="207"/>
        <pc:sldMkLst>
          <pc:docMk/>
          <pc:sldMk cId="1317534274" sldId="2147473390"/>
        </pc:sldMkLst>
        <pc:spChg chg="mod">
          <ac:chgData name="Siragusa, Gianmarco" userId="6df33696-2e6a-41ba-bc49-d574214408bc" providerId="ADAL" clId="{325ED805-F480-4EFF-B64B-F815BB4CD031}" dt="2024-10-22T13:47:37.493" v="1826" actId="1076"/>
          <ac:spMkLst>
            <pc:docMk/>
            <pc:sldMk cId="1317534274" sldId="2147473390"/>
            <ac:spMk id="3" creationId="{E670F2EE-0F99-9431-B1C9-3C80F95FA4F2}"/>
          </ac:spMkLst>
        </pc:spChg>
        <pc:spChg chg="mod">
          <ac:chgData name="Siragusa, Gianmarco" userId="6df33696-2e6a-41ba-bc49-d574214408bc" providerId="ADAL" clId="{325ED805-F480-4EFF-B64B-F815BB4CD031}" dt="2024-10-22T08:33:20.503" v="1409" actId="20577"/>
          <ac:spMkLst>
            <pc:docMk/>
            <pc:sldMk cId="1317534274" sldId="2147473390"/>
            <ac:spMk id="4" creationId="{86D61347-C5FF-B872-10AB-74CBE5B3246F}"/>
          </ac:spMkLst>
        </pc:spChg>
        <pc:spChg chg="add del mod">
          <ac:chgData name="Siragusa, Gianmarco" userId="6df33696-2e6a-41ba-bc49-d574214408bc" providerId="ADAL" clId="{325ED805-F480-4EFF-B64B-F815BB4CD031}" dt="2024-10-22T08:23:56.059" v="1134" actId="478"/>
          <ac:spMkLst>
            <pc:docMk/>
            <pc:sldMk cId="1317534274" sldId="2147473390"/>
            <ac:spMk id="5" creationId="{A95DAFF3-1F3D-BA35-2C8F-B7794924C4B7}"/>
          </ac:spMkLst>
        </pc:spChg>
        <pc:spChg chg="add del mod">
          <ac:chgData name="Siragusa, Gianmarco" userId="6df33696-2e6a-41ba-bc49-d574214408bc" providerId="ADAL" clId="{325ED805-F480-4EFF-B64B-F815BB4CD031}" dt="2024-10-22T08:24:40.656" v="1145" actId="478"/>
          <ac:spMkLst>
            <pc:docMk/>
            <pc:sldMk cId="1317534274" sldId="2147473390"/>
            <ac:spMk id="6" creationId="{73472FF4-6B60-6340-BCE9-24AA9D512EE1}"/>
          </ac:spMkLst>
        </pc:spChg>
        <pc:spChg chg="add del mod">
          <ac:chgData name="Siragusa, Gianmarco" userId="6df33696-2e6a-41ba-bc49-d574214408bc" providerId="ADAL" clId="{325ED805-F480-4EFF-B64B-F815BB4CD031}" dt="2024-10-22T08:27:02.689" v="1188" actId="478"/>
          <ac:spMkLst>
            <pc:docMk/>
            <pc:sldMk cId="1317534274" sldId="2147473390"/>
            <ac:spMk id="8" creationId="{B4751C8A-16EA-8AFB-C08E-D92230F97055}"/>
          </ac:spMkLst>
        </pc:spChg>
        <pc:spChg chg="del mod topLvl">
          <ac:chgData name="Siragusa, Gianmarco" userId="6df33696-2e6a-41ba-bc49-d574214408bc" providerId="ADAL" clId="{325ED805-F480-4EFF-B64B-F815BB4CD031}" dt="2024-10-22T10:19:23.694" v="1545" actId="478"/>
          <ac:spMkLst>
            <pc:docMk/>
            <pc:sldMk cId="1317534274" sldId="2147473390"/>
            <ac:spMk id="10" creationId="{2D6D382E-601F-19A5-931B-4390CC31613E}"/>
          </ac:spMkLst>
        </pc:spChg>
        <pc:spChg chg="del mod">
          <ac:chgData name="Siragusa, Gianmarco" userId="6df33696-2e6a-41ba-bc49-d574214408bc" providerId="ADAL" clId="{325ED805-F480-4EFF-B64B-F815BB4CD031}" dt="2024-10-22T10:19:16.852" v="1543" actId="478"/>
          <ac:spMkLst>
            <pc:docMk/>
            <pc:sldMk cId="1317534274" sldId="2147473390"/>
            <ac:spMk id="14" creationId="{0519B268-C58B-F781-4B42-6C4E7724947A}"/>
          </ac:spMkLst>
        </pc:spChg>
        <pc:spChg chg="mod">
          <ac:chgData name="Siragusa, Gianmarco" userId="6df33696-2e6a-41ba-bc49-d574214408bc" providerId="ADAL" clId="{325ED805-F480-4EFF-B64B-F815BB4CD031}" dt="2024-10-22T08:29:22.917" v="1215"/>
          <ac:spMkLst>
            <pc:docMk/>
            <pc:sldMk cId="1317534274" sldId="2147473390"/>
            <ac:spMk id="15" creationId="{DD5DE7D0-19BD-3B09-910C-121D54AB6B9B}"/>
          </ac:spMkLst>
        </pc:spChg>
        <pc:spChg chg="mod">
          <ac:chgData name="Siragusa, Gianmarco" userId="6df33696-2e6a-41ba-bc49-d574214408bc" providerId="ADAL" clId="{325ED805-F480-4EFF-B64B-F815BB4CD031}" dt="2024-10-22T08:29:22.917" v="1215"/>
          <ac:spMkLst>
            <pc:docMk/>
            <pc:sldMk cId="1317534274" sldId="2147473390"/>
            <ac:spMk id="16" creationId="{BA010902-B807-8F35-399A-F92EB8EA71F0}"/>
          </ac:spMkLst>
        </pc:spChg>
        <pc:spChg chg="del mod">
          <ac:chgData name="Siragusa, Gianmarco" userId="6df33696-2e6a-41ba-bc49-d574214408bc" providerId="ADAL" clId="{325ED805-F480-4EFF-B64B-F815BB4CD031}" dt="2024-10-22T08:37:39.937" v="1445" actId="478"/>
          <ac:spMkLst>
            <pc:docMk/>
            <pc:sldMk cId="1317534274" sldId="2147473390"/>
            <ac:spMk id="17" creationId="{BB3AAE56-9349-9FBA-7C52-DD2103A39B2A}"/>
          </ac:spMkLst>
        </pc:spChg>
        <pc:spChg chg="add mod">
          <ac:chgData name="Siragusa, Gianmarco" userId="6df33696-2e6a-41ba-bc49-d574214408bc" providerId="ADAL" clId="{325ED805-F480-4EFF-B64B-F815BB4CD031}" dt="2024-10-22T08:29:30.467" v="1217"/>
          <ac:spMkLst>
            <pc:docMk/>
            <pc:sldMk cId="1317534274" sldId="2147473390"/>
            <ac:spMk id="18" creationId="{819CEF34-1ACE-4500-F7C6-C9CDF1C9095E}"/>
          </ac:spMkLst>
        </pc:spChg>
        <pc:spChg chg="del mod">
          <ac:chgData name="Siragusa, Gianmarco" userId="6df33696-2e6a-41ba-bc49-d574214408bc" providerId="ADAL" clId="{325ED805-F480-4EFF-B64B-F815BB4CD031}" dt="2024-10-22T10:19:22.319" v="1544" actId="478"/>
          <ac:spMkLst>
            <pc:docMk/>
            <pc:sldMk cId="1317534274" sldId="2147473390"/>
            <ac:spMk id="20" creationId="{0D25C128-6BA9-F4DA-6810-E737988E9364}"/>
          </ac:spMkLst>
        </pc:spChg>
        <pc:spChg chg="del mod">
          <ac:chgData name="Siragusa, Gianmarco" userId="6df33696-2e6a-41ba-bc49-d574214408bc" providerId="ADAL" clId="{325ED805-F480-4EFF-B64B-F815BB4CD031}" dt="2024-10-22T10:19:16.852" v="1543" actId="478"/>
          <ac:spMkLst>
            <pc:docMk/>
            <pc:sldMk cId="1317534274" sldId="2147473390"/>
            <ac:spMk id="21" creationId="{F85D3ACD-726F-E015-ECB8-6E828B949F60}"/>
          </ac:spMkLst>
        </pc:spChg>
        <pc:spChg chg="del mod">
          <ac:chgData name="Siragusa, Gianmarco" userId="6df33696-2e6a-41ba-bc49-d574214408bc" providerId="ADAL" clId="{325ED805-F480-4EFF-B64B-F815BB4CD031}" dt="2024-10-22T08:37:39.937" v="1445" actId="478"/>
          <ac:spMkLst>
            <pc:docMk/>
            <pc:sldMk cId="1317534274" sldId="2147473390"/>
            <ac:spMk id="22" creationId="{E621E8BA-4341-0B81-D182-0BF7B215D45A}"/>
          </ac:spMkLst>
        </pc:spChg>
        <pc:spChg chg="mod">
          <ac:chgData name="Siragusa, Gianmarco" userId="6df33696-2e6a-41ba-bc49-d574214408bc" providerId="ADAL" clId="{325ED805-F480-4EFF-B64B-F815BB4CD031}" dt="2024-10-22T08:29:43.551" v="1219"/>
          <ac:spMkLst>
            <pc:docMk/>
            <pc:sldMk cId="1317534274" sldId="2147473390"/>
            <ac:spMk id="23" creationId="{D30C0510-E977-824B-0DF0-0227C1D2D992}"/>
          </ac:spMkLst>
        </pc:spChg>
        <pc:spChg chg="mod">
          <ac:chgData name="Siragusa, Gianmarco" userId="6df33696-2e6a-41ba-bc49-d574214408bc" providerId="ADAL" clId="{325ED805-F480-4EFF-B64B-F815BB4CD031}" dt="2024-10-22T08:29:43.551" v="1219"/>
          <ac:spMkLst>
            <pc:docMk/>
            <pc:sldMk cId="1317534274" sldId="2147473390"/>
            <ac:spMk id="24" creationId="{328CC2BC-C96A-8840-AE8E-0E3B9EE1AD0B}"/>
          </ac:spMkLst>
        </pc:spChg>
        <pc:spChg chg="del mod">
          <ac:chgData name="Siragusa, Gianmarco" userId="6df33696-2e6a-41ba-bc49-d574214408bc" providerId="ADAL" clId="{325ED805-F480-4EFF-B64B-F815BB4CD031}" dt="2024-10-22T10:19:22.319" v="1544" actId="478"/>
          <ac:spMkLst>
            <pc:docMk/>
            <pc:sldMk cId="1317534274" sldId="2147473390"/>
            <ac:spMk id="25" creationId="{074D2164-401A-BA80-0631-D8312881407E}"/>
          </ac:spMkLst>
        </pc:spChg>
        <pc:spChg chg="del mod">
          <ac:chgData name="Siragusa, Gianmarco" userId="6df33696-2e6a-41ba-bc49-d574214408bc" providerId="ADAL" clId="{325ED805-F480-4EFF-B64B-F815BB4CD031}" dt="2024-10-22T10:19:16.852" v="1543" actId="478"/>
          <ac:spMkLst>
            <pc:docMk/>
            <pc:sldMk cId="1317534274" sldId="2147473390"/>
            <ac:spMk id="27" creationId="{DC6A6A94-601F-5203-4577-26EA235C5AE7}"/>
          </ac:spMkLst>
        </pc:spChg>
        <pc:spChg chg="del mod">
          <ac:chgData name="Siragusa, Gianmarco" userId="6df33696-2e6a-41ba-bc49-d574214408bc" providerId="ADAL" clId="{325ED805-F480-4EFF-B64B-F815BB4CD031}" dt="2024-10-22T08:37:39.937" v="1445" actId="478"/>
          <ac:spMkLst>
            <pc:docMk/>
            <pc:sldMk cId="1317534274" sldId="2147473390"/>
            <ac:spMk id="28" creationId="{4D002664-A19A-3854-BB40-5E70DAD424CC}"/>
          </ac:spMkLst>
        </pc:spChg>
        <pc:spChg chg="del mod">
          <ac:chgData name="Siragusa, Gianmarco" userId="6df33696-2e6a-41ba-bc49-d574214408bc" providerId="ADAL" clId="{325ED805-F480-4EFF-B64B-F815BB4CD031}" dt="2024-10-22T08:32:27.998" v="1391"/>
          <ac:spMkLst>
            <pc:docMk/>
            <pc:sldMk cId="1317534274" sldId="2147473390"/>
            <ac:spMk id="30" creationId="{0375CAC0-63BD-36C3-46F7-ACBBA8E8C386}"/>
          </ac:spMkLst>
        </pc:spChg>
        <pc:spChg chg="add del mod">
          <ac:chgData name="Siragusa, Gianmarco" userId="6df33696-2e6a-41ba-bc49-d574214408bc" providerId="ADAL" clId="{325ED805-F480-4EFF-B64B-F815BB4CD031}" dt="2024-10-22T10:19:23.694" v="1545" actId="478"/>
          <ac:spMkLst>
            <pc:docMk/>
            <pc:sldMk cId="1317534274" sldId="2147473390"/>
            <ac:spMk id="33" creationId="{018CE45E-23EC-1D3B-1F28-70CC5F4D6975}"/>
          </ac:spMkLst>
        </pc:spChg>
        <pc:spChg chg="add del mod">
          <ac:chgData name="Siragusa, Gianmarco" userId="6df33696-2e6a-41ba-bc49-d574214408bc" providerId="ADAL" clId="{325ED805-F480-4EFF-B64B-F815BB4CD031}" dt="2024-10-22T10:19:22.319" v="1544" actId="478"/>
          <ac:spMkLst>
            <pc:docMk/>
            <pc:sldMk cId="1317534274" sldId="2147473390"/>
            <ac:spMk id="34" creationId="{ECA6D17B-DA3B-1003-406D-245348586171}"/>
          </ac:spMkLst>
        </pc:spChg>
        <pc:spChg chg="mod">
          <ac:chgData name="Siragusa, Gianmarco" userId="6df33696-2e6a-41ba-bc49-d574214408bc" providerId="ADAL" clId="{325ED805-F480-4EFF-B64B-F815BB4CD031}" dt="2024-10-22T08:32:57.601" v="1396"/>
          <ac:spMkLst>
            <pc:docMk/>
            <pc:sldMk cId="1317534274" sldId="2147473390"/>
            <ac:spMk id="38" creationId="{875FBDE4-19ED-1678-2285-8A24E8B38748}"/>
          </ac:spMkLst>
        </pc:spChg>
        <pc:spChg chg="mod">
          <ac:chgData name="Siragusa, Gianmarco" userId="6df33696-2e6a-41ba-bc49-d574214408bc" providerId="ADAL" clId="{325ED805-F480-4EFF-B64B-F815BB4CD031}" dt="2024-10-22T08:32:57.601" v="1396"/>
          <ac:spMkLst>
            <pc:docMk/>
            <pc:sldMk cId="1317534274" sldId="2147473390"/>
            <ac:spMk id="39" creationId="{74AA20B0-55E1-AC63-3B14-3A6087FD0B3C}"/>
          </ac:spMkLst>
        </pc:spChg>
        <pc:spChg chg="mod">
          <ac:chgData name="Siragusa, Gianmarco" userId="6df33696-2e6a-41ba-bc49-d574214408bc" providerId="ADAL" clId="{325ED805-F480-4EFF-B64B-F815BB4CD031}" dt="2024-10-22T08:33:02.827" v="1400"/>
          <ac:spMkLst>
            <pc:docMk/>
            <pc:sldMk cId="1317534274" sldId="2147473390"/>
            <ac:spMk id="43" creationId="{9036B14E-1A60-D560-9829-C9F7AEC27BB7}"/>
          </ac:spMkLst>
        </pc:spChg>
        <pc:spChg chg="mod">
          <ac:chgData name="Siragusa, Gianmarco" userId="6df33696-2e6a-41ba-bc49-d574214408bc" providerId="ADAL" clId="{325ED805-F480-4EFF-B64B-F815BB4CD031}" dt="2024-10-22T08:33:02.827" v="1400"/>
          <ac:spMkLst>
            <pc:docMk/>
            <pc:sldMk cId="1317534274" sldId="2147473390"/>
            <ac:spMk id="44" creationId="{09574062-87FA-3962-05C1-3FBD77F1BF90}"/>
          </ac:spMkLst>
        </pc:spChg>
        <pc:spChg chg="add mod">
          <ac:chgData name="Siragusa, Gianmarco" userId="6df33696-2e6a-41ba-bc49-d574214408bc" providerId="ADAL" clId="{325ED805-F480-4EFF-B64B-F815BB4CD031}" dt="2024-10-22T13:43:14.370" v="1774" actId="207"/>
          <ac:spMkLst>
            <pc:docMk/>
            <pc:sldMk cId="1317534274" sldId="2147473390"/>
            <ac:spMk id="46" creationId="{E8BB4599-72B7-98C6-24D1-2A7741C363F0}"/>
          </ac:spMkLst>
        </pc:spChg>
        <pc:spChg chg="add del mod">
          <ac:chgData name="Siragusa, Gianmarco" userId="6df33696-2e6a-41ba-bc49-d574214408bc" providerId="ADAL" clId="{325ED805-F480-4EFF-B64B-F815BB4CD031}" dt="2024-10-22T10:20:03.803" v="1580" actId="478"/>
          <ac:spMkLst>
            <pc:docMk/>
            <pc:sldMk cId="1317534274" sldId="2147473390"/>
            <ac:spMk id="47" creationId="{5B57D9CB-0968-4AB6-12B0-149837746993}"/>
          </ac:spMkLst>
        </pc:spChg>
        <pc:spChg chg="add del mod">
          <ac:chgData name="Siragusa, Gianmarco" userId="6df33696-2e6a-41ba-bc49-d574214408bc" providerId="ADAL" clId="{325ED805-F480-4EFF-B64B-F815BB4CD031}" dt="2024-10-22T10:20:03.803" v="1580" actId="478"/>
          <ac:spMkLst>
            <pc:docMk/>
            <pc:sldMk cId="1317534274" sldId="2147473390"/>
            <ac:spMk id="48" creationId="{79BAEEE9-E8EC-0C75-4659-B35F6865E182}"/>
          </ac:spMkLst>
        </pc:spChg>
        <pc:spChg chg="add mod">
          <ac:chgData name="Siragusa, Gianmarco" userId="6df33696-2e6a-41ba-bc49-d574214408bc" providerId="ADAL" clId="{325ED805-F480-4EFF-B64B-F815BB4CD031}" dt="2024-10-22T13:43:22.129" v="1776" actId="207"/>
          <ac:spMkLst>
            <pc:docMk/>
            <pc:sldMk cId="1317534274" sldId="2147473390"/>
            <ac:spMk id="49" creationId="{7E3C300B-EDCB-CEDA-DCCE-1BCE576DA342}"/>
          </ac:spMkLst>
        </pc:spChg>
        <pc:spChg chg="add mod">
          <ac:chgData name="Siragusa, Gianmarco" userId="6df33696-2e6a-41ba-bc49-d574214408bc" providerId="ADAL" clId="{325ED805-F480-4EFF-B64B-F815BB4CD031}" dt="2024-10-22T13:45:29.759" v="1798" actId="12788"/>
          <ac:spMkLst>
            <pc:docMk/>
            <pc:sldMk cId="1317534274" sldId="2147473390"/>
            <ac:spMk id="50" creationId="{04747406-7A83-339B-3571-8580BBCA63F0}"/>
          </ac:spMkLst>
        </pc:spChg>
        <pc:spChg chg="add mod">
          <ac:chgData name="Siragusa, Gianmarco" userId="6df33696-2e6a-41ba-bc49-d574214408bc" providerId="ADAL" clId="{325ED805-F480-4EFF-B64B-F815BB4CD031}" dt="2024-10-22T13:42:37.717" v="1768" actId="1036"/>
          <ac:spMkLst>
            <pc:docMk/>
            <pc:sldMk cId="1317534274" sldId="2147473390"/>
            <ac:spMk id="52" creationId="{0797BA31-2C5B-9998-F2D6-4E06F74E0C77}"/>
          </ac:spMkLst>
        </pc:spChg>
        <pc:spChg chg="add mod">
          <ac:chgData name="Siragusa, Gianmarco" userId="6df33696-2e6a-41ba-bc49-d574214408bc" providerId="ADAL" clId="{325ED805-F480-4EFF-B64B-F815BB4CD031}" dt="2024-10-22T13:53:33.762" v="1942" actId="207"/>
          <ac:spMkLst>
            <pc:docMk/>
            <pc:sldMk cId="1317534274" sldId="2147473390"/>
            <ac:spMk id="53" creationId="{679E37E3-79D6-5A98-C5BB-FB4ED9B3D086}"/>
          </ac:spMkLst>
        </pc:spChg>
        <pc:spChg chg="add del mod">
          <ac:chgData name="Siragusa, Gianmarco" userId="6df33696-2e6a-41ba-bc49-d574214408bc" providerId="ADAL" clId="{325ED805-F480-4EFF-B64B-F815BB4CD031}" dt="2024-10-22T10:21:18.758" v="1599" actId="478"/>
          <ac:spMkLst>
            <pc:docMk/>
            <pc:sldMk cId="1317534274" sldId="2147473390"/>
            <ac:spMk id="58" creationId="{92A5EECE-9514-DDF2-3885-2652701619D2}"/>
          </ac:spMkLst>
        </pc:spChg>
        <pc:spChg chg="add mod">
          <ac:chgData name="Siragusa, Gianmarco" userId="6df33696-2e6a-41ba-bc49-d574214408bc" providerId="ADAL" clId="{325ED805-F480-4EFF-B64B-F815BB4CD031}" dt="2024-10-22T10:21:19.414" v="1600"/>
          <ac:spMkLst>
            <pc:docMk/>
            <pc:sldMk cId="1317534274" sldId="2147473390"/>
            <ac:spMk id="59" creationId="{EA691A07-221C-956B-32C3-5E20B2B28565}"/>
          </ac:spMkLst>
        </pc:spChg>
        <pc:spChg chg="add del mod">
          <ac:chgData name="Siragusa, Gianmarco" userId="6df33696-2e6a-41ba-bc49-d574214408bc" providerId="ADAL" clId="{325ED805-F480-4EFF-B64B-F815BB4CD031}" dt="2024-10-22T10:26:27.547" v="1679" actId="478"/>
          <ac:spMkLst>
            <pc:docMk/>
            <pc:sldMk cId="1317534274" sldId="2147473390"/>
            <ac:spMk id="61" creationId="{85586E0F-DCC8-6CBC-63AF-9106CAD84517}"/>
          </ac:spMkLst>
        </pc:spChg>
        <pc:spChg chg="mod topLvl">
          <ac:chgData name="Siragusa, Gianmarco" userId="6df33696-2e6a-41ba-bc49-d574214408bc" providerId="ADAL" clId="{325ED805-F480-4EFF-B64B-F815BB4CD031}" dt="2024-10-22T10:23:24.883" v="1635" actId="207"/>
          <ac:spMkLst>
            <pc:docMk/>
            <pc:sldMk cId="1317534274" sldId="2147473390"/>
            <ac:spMk id="64" creationId="{CC5E7413-ED3B-3E4A-7427-C586343599BB}"/>
          </ac:spMkLst>
        </pc:spChg>
        <pc:spChg chg="del mod topLvl">
          <ac:chgData name="Siragusa, Gianmarco" userId="6df33696-2e6a-41ba-bc49-d574214408bc" providerId="ADAL" clId="{325ED805-F480-4EFF-B64B-F815BB4CD031}" dt="2024-10-22T10:23:05.018" v="1630" actId="478"/>
          <ac:spMkLst>
            <pc:docMk/>
            <pc:sldMk cId="1317534274" sldId="2147473390"/>
            <ac:spMk id="65" creationId="{B64156D9-158A-6433-6933-9B91AC8C9840}"/>
          </ac:spMkLst>
        </pc:spChg>
        <pc:spChg chg="add del mod">
          <ac:chgData name="Siragusa, Gianmarco" userId="6df33696-2e6a-41ba-bc49-d574214408bc" providerId="ADAL" clId="{325ED805-F480-4EFF-B64B-F815BB4CD031}" dt="2024-10-22T13:47:35.551" v="1824" actId="478"/>
          <ac:spMkLst>
            <pc:docMk/>
            <pc:sldMk cId="1317534274" sldId="2147473390"/>
            <ac:spMk id="66" creationId="{8C61088F-A9BA-4BFC-4DA0-4B8E9B510DD0}"/>
          </ac:spMkLst>
        </pc:spChg>
        <pc:spChg chg="add del mod">
          <ac:chgData name="Siragusa, Gianmarco" userId="6df33696-2e6a-41ba-bc49-d574214408bc" providerId="ADAL" clId="{325ED805-F480-4EFF-B64B-F815BB4CD031}" dt="2024-10-22T10:22:36.273" v="1627" actId="478"/>
          <ac:spMkLst>
            <pc:docMk/>
            <pc:sldMk cId="1317534274" sldId="2147473390"/>
            <ac:spMk id="69" creationId="{84D9F22A-AF91-1C43-CE03-D272D17F851B}"/>
          </ac:spMkLst>
        </pc:spChg>
        <pc:spChg chg="add mod">
          <ac:chgData name="Siragusa, Gianmarco" userId="6df33696-2e6a-41ba-bc49-d574214408bc" providerId="ADAL" clId="{325ED805-F480-4EFF-B64B-F815BB4CD031}" dt="2024-10-22T13:45:37.999" v="1799" actId="1076"/>
          <ac:spMkLst>
            <pc:docMk/>
            <pc:sldMk cId="1317534274" sldId="2147473390"/>
            <ac:spMk id="73" creationId="{7DD68EDB-55F3-E27D-B011-CFE003131A09}"/>
          </ac:spMkLst>
        </pc:spChg>
        <pc:spChg chg="mod">
          <ac:chgData name="Siragusa, Gianmarco" userId="6df33696-2e6a-41ba-bc49-d574214408bc" providerId="ADAL" clId="{325ED805-F480-4EFF-B64B-F815BB4CD031}" dt="2024-10-22T10:26:26.351" v="1678"/>
          <ac:spMkLst>
            <pc:docMk/>
            <pc:sldMk cId="1317534274" sldId="2147473390"/>
            <ac:spMk id="77" creationId="{84407EBF-D607-CC1C-7FEB-7B4068C014CE}"/>
          </ac:spMkLst>
        </pc:spChg>
        <pc:spChg chg="add mod ord">
          <ac:chgData name="Siragusa, Gianmarco" userId="6df33696-2e6a-41ba-bc49-d574214408bc" providerId="ADAL" clId="{325ED805-F480-4EFF-B64B-F815BB4CD031}" dt="2024-10-22T13:43:18.341" v="1775" actId="208"/>
          <ac:spMkLst>
            <pc:docMk/>
            <pc:sldMk cId="1317534274" sldId="2147473390"/>
            <ac:spMk id="80" creationId="{D0C3C1A3-7F9B-4497-781E-9215678479F3}"/>
          </ac:spMkLst>
        </pc:spChg>
        <pc:spChg chg="add mod ord">
          <ac:chgData name="Siragusa, Gianmarco" userId="6df33696-2e6a-41ba-bc49-d574214408bc" providerId="ADAL" clId="{325ED805-F480-4EFF-B64B-F815BB4CD031}" dt="2024-10-22T13:43:35.156" v="1778" actId="208"/>
          <ac:spMkLst>
            <pc:docMk/>
            <pc:sldMk cId="1317534274" sldId="2147473390"/>
            <ac:spMk id="81" creationId="{B9F624C6-B81C-2DF7-30E3-8715A917661D}"/>
          </ac:spMkLst>
        </pc:spChg>
        <pc:spChg chg="add mod ord">
          <ac:chgData name="Siragusa, Gianmarco" userId="6df33696-2e6a-41ba-bc49-d574214408bc" providerId="ADAL" clId="{325ED805-F480-4EFF-B64B-F815BB4CD031}" dt="2024-10-22T13:45:37.999" v="1799" actId="1076"/>
          <ac:spMkLst>
            <pc:docMk/>
            <pc:sldMk cId="1317534274" sldId="2147473390"/>
            <ac:spMk id="82" creationId="{9DB4A320-2759-D8D3-50D1-B8EFAAB88110}"/>
          </ac:spMkLst>
        </pc:spChg>
        <pc:spChg chg="add del mod ord">
          <ac:chgData name="Siragusa, Gianmarco" userId="6df33696-2e6a-41ba-bc49-d574214408bc" providerId="ADAL" clId="{325ED805-F480-4EFF-B64B-F815BB4CD031}" dt="2024-10-22T13:47:39.212" v="1828" actId="478"/>
          <ac:spMkLst>
            <pc:docMk/>
            <pc:sldMk cId="1317534274" sldId="2147473390"/>
            <ac:spMk id="90" creationId="{DA3BDB1A-5482-863F-E2D7-BC213DC3C10B}"/>
          </ac:spMkLst>
        </pc:spChg>
        <pc:grpChg chg="add del mod">
          <ac:chgData name="Siragusa, Gianmarco" userId="6df33696-2e6a-41ba-bc49-d574214408bc" providerId="ADAL" clId="{325ED805-F480-4EFF-B64B-F815BB4CD031}" dt="2024-10-22T08:26:49.532" v="1184" actId="478"/>
          <ac:grpSpMkLst>
            <pc:docMk/>
            <pc:sldMk cId="1317534274" sldId="2147473390"/>
            <ac:grpSpMk id="9" creationId="{7849275B-C4AD-3D4B-5DDE-6ECF5929828C}"/>
          </ac:grpSpMkLst>
        </pc:grpChg>
        <pc:grpChg chg="add del mod">
          <ac:chgData name="Siragusa, Gianmarco" userId="6df33696-2e6a-41ba-bc49-d574214408bc" providerId="ADAL" clId="{325ED805-F480-4EFF-B64B-F815BB4CD031}" dt="2024-10-22T08:28:57.636" v="1210" actId="165"/>
          <ac:grpSpMkLst>
            <pc:docMk/>
            <pc:sldMk cId="1317534274" sldId="2147473390"/>
            <ac:grpSpMk id="12" creationId="{C0B61843-4A10-C379-0572-DB77784723E9}"/>
          </ac:grpSpMkLst>
        </pc:grpChg>
        <pc:grpChg chg="add del mod">
          <ac:chgData name="Siragusa, Gianmarco" userId="6df33696-2e6a-41ba-bc49-d574214408bc" providerId="ADAL" clId="{325ED805-F480-4EFF-B64B-F815BB4CD031}" dt="2024-10-22T08:29:33.668" v="1218" actId="478"/>
          <ac:grpSpMkLst>
            <pc:docMk/>
            <pc:sldMk cId="1317534274" sldId="2147473390"/>
            <ac:grpSpMk id="13" creationId="{F8F65982-FF5B-D589-664F-58794B40C1AB}"/>
          </ac:grpSpMkLst>
        </pc:grpChg>
        <pc:grpChg chg="add del mod">
          <ac:chgData name="Siragusa, Gianmarco" userId="6df33696-2e6a-41ba-bc49-d574214408bc" providerId="ADAL" clId="{325ED805-F480-4EFF-B64B-F815BB4CD031}" dt="2024-10-22T10:19:23.694" v="1545" actId="478"/>
          <ac:grpSpMkLst>
            <pc:docMk/>
            <pc:sldMk cId="1317534274" sldId="2147473390"/>
            <ac:grpSpMk id="19" creationId="{21AABE77-1518-DF75-D918-1AD7EC14116E}"/>
          </ac:grpSpMkLst>
        </pc:grpChg>
        <pc:grpChg chg="add mod">
          <ac:chgData name="Siragusa, Gianmarco" userId="6df33696-2e6a-41ba-bc49-d574214408bc" providerId="ADAL" clId="{325ED805-F480-4EFF-B64B-F815BB4CD031}" dt="2024-10-22T08:32:57.601" v="1396"/>
          <ac:grpSpMkLst>
            <pc:docMk/>
            <pc:sldMk cId="1317534274" sldId="2147473390"/>
            <ac:grpSpMk id="35" creationId="{2FC57CE6-7728-4E63-57BC-30ED18529FA3}"/>
          </ac:grpSpMkLst>
        </pc:grpChg>
        <pc:grpChg chg="mod">
          <ac:chgData name="Siragusa, Gianmarco" userId="6df33696-2e6a-41ba-bc49-d574214408bc" providerId="ADAL" clId="{325ED805-F480-4EFF-B64B-F815BB4CD031}" dt="2024-10-22T08:32:57.601" v="1396"/>
          <ac:grpSpMkLst>
            <pc:docMk/>
            <pc:sldMk cId="1317534274" sldId="2147473390"/>
            <ac:grpSpMk id="36" creationId="{632224FF-E6E1-D7EE-B0A7-4648BE158036}"/>
          </ac:grpSpMkLst>
        </pc:grpChg>
        <pc:grpChg chg="add del mod">
          <ac:chgData name="Siragusa, Gianmarco" userId="6df33696-2e6a-41ba-bc49-d574214408bc" providerId="ADAL" clId="{325ED805-F480-4EFF-B64B-F815BB4CD031}" dt="2024-10-22T08:33:14.610" v="1407" actId="478"/>
          <ac:grpSpMkLst>
            <pc:docMk/>
            <pc:sldMk cId="1317534274" sldId="2147473390"/>
            <ac:grpSpMk id="40" creationId="{B4A18AF7-89B9-C809-BBBA-54F5E6DBBA0D}"/>
          </ac:grpSpMkLst>
        </pc:grpChg>
        <pc:grpChg chg="mod">
          <ac:chgData name="Siragusa, Gianmarco" userId="6df33696-2e6a-41ba-bc49-d574214408bc" providerId="ADAL" clId="{325ED805-F480-4EFF-B64B-F815BB4CD031}" dt="2024-10-22T08:33:02.827" v="1400"/>
          <ac:grpSpMkLst>
            <pc:docMk/>
            <pc:sldMk cId="1317534274" sldId="2147473390"/>
            <ac:grpSpMk id="41" creationId="{968BE55E-1BB3-F691-8398-1CCD906B6D33}"/>
          </ac:grpSpMkLst>
        </pc:grpChg>
        <pc:grpChg chg="add del mod ord">
          <ac:chgData name="Siragusa, Gianmarco" userId="6df33696-2e6a-41ba-bc49-d574214408bc" providerId="ADAL" clId="{325ED805-F480-4EFF-B64B-F815BB4CD031}" dt="2024-10-22T10:23:05.018" v="1630" actId="478"/>
          <ac:grpSpMkLst>
            <pc:docMk/>
            <pc:sldMk cId="1317534274" sldId="2147473390"/>
            <ac:grpSpMk id="63" creationId="{28175946-D872-7ECB-5B7B-38334F13922D}"/>
          </ac:grpSpMkLst>
        </pc:grpChg>
        <pc:grpChg chg="add del mod">
          <ac:chgData name="Siragusa, Gianmarco" userId="6df33696-2e6a-41ba-bc49-d574214408bc" providerId="ADAL" clId="{325ED805-F480-4EFF-B64B-F815BB4CD031}" dt="2024-10-22T10:26:25.878" v="1677" actId="478"/>
          <ac:grpSpMkLst>
            <pc:docMk/>
            <pc:sldMk cId="1317534274" sldId="2147473390"/>
            <ac:grpSpMk id="72" creationId="{248B743B-C800-E7E2-5034-686E6ABE0416}"/>
          </ac:grpSpMkLst>
        </pc:grpChg>
        <pc:grpChg chg="add mod ord">
          <ac:chgData name="Siragusa, Gianmarco" userId="6df33696-2e6a-41ba-bc49-d574214408bc" providerId="ADAL" clId="{325ED805-F480-4EFF-B64B-F815BB4CD031}" dt="2024-10-22T13:48:29.297" v="1877" actId="166"/>
          <ac:grpSpMkLst>
            <pc:docMk/>
            <pc:sldMk cId="1317534274" sldId="2147473390"/>
            <ac:grpSpMk id="76" creationId="{B996FEA1-EE52-4BD9-5004-36C2CCF2C6C5}"/>
          </ac:grpSpMkLst>
        </pc:grpChg>
        <pc:picChg chg="add del mod ord topLvl">
          <ac:chgData name="Siragusa, Gianmarco" userId="6df33696-2e6a-41ba-bc49-d574214408bc" providerId="ADAL" clId="{325ED805-F480-4EFF-B64B-F815BB4CD031}" dt="2024-10-22T10:19:23.694" v="1545" actId="478"/>
          <ac:picMkLst>
            <pc:docMk/>
            <pc:sldMk cId="1317534274" sldId="2147473390"/>
            <ac:picMk id="7" creationId="{1A7B1FC7-B67E-6257-05EF-2433731CAE23}"/>
          </ac:picMkLst>
        </pc:picChg>
        <pc:picChg chg="del mod">
          <ac:chgData name="Siragusa, Gianmarco" userId="6df33696-2e6a-41ba-bc49-d574214408bc" providerId="ADAL" clId="{325ED805-F480-4EFF-B64B-F815BB4CD031}" dt="2024-10-22T08:26:49.532" v="1184" actId="478"/>
          <ac:picMkLst>
            <pc:docMk/>
            <pc:sldMk cId="1317534274" sldId="2147473390"/>
            <ac:picMk id="11" creationId="{E1EDC229-400E-DF14-6125-B956CED3C053}"/>
          </ac:picMkLst>
        </pc:picChg>
        <pc:picChg chg="del">
          <ac:chgData name="Siragusa, Gianmarco" userId="6df33696-2e6a-41ba-bc49-d574214408bc" providerId="ADAL" clId="{325ED805-F480-4EFF-B64B-F815BB4CD031}" dt="2024-10-22T08:24:54.293" v="1150" actId="478"/>
          <ac:picMkLst>
            <pc:docMk/>
            <pc:sldMk cId="1317534274" sldId="2147473390"/>
            <ac:picMk id="29" creationId="{B5E96E42-5131-D8F7-1244-1A3765A9CB38}"/>
          </ac:picMkLst>
        </pc:picChg>
        <pc:picChg chg="add del mod">
          <ac:chgData name="Siragusa, Gianmarco" userId="6df33696-2e6a-41ba-bc49-d574214408bc" providerId="ADAL" clId="{325ED805-F480-4EFF-B64B-F815BB4CD031}" dt="2024-10-22T08:30:10.917" v="1221" actId="478"/>
          <ac:picMkLst>
            <pc:docMk/>
            <pc:sldMk cId="1317534274" sldId="2147473390"/>
            <ac:picMk id="31" creationId="{77A95D5F-176B-A17E-C4AD-479188D09745}"/>
          </ac:picMkLst>
        </pc:picChg>
        <pc:picChg chg="add del mod">
          <ac:chgData name="Siragusa, Gianmarco" userId="6df33696-2e6a-41ba-bc49-d574214408bc" providerId="ADAL" clId="{325ED805-F480-4EFF-B64B-F815BB4CD031}" dt="2024-10-22T08:33:02.183" v="1399" actId="478"/>
          <ac:picMkLst>
            <pc:docMk/>
            <pc:sldMk cId="1317534274" sldId="2147473390"/>
            <ac:picMk id="32" creationId="{9A1F0E92-B790-BCD4-63C1-79F37AA5A6D0}"/>
          </ac:picMkLst>
        </pc:picChg>
        <pc:picChg chg="mod">
          <ac:chgData name="Siragusa, Gianmarco" userId="6df33696-2e6a-41ba-bc49-d574214408bc" providerId="ADAL" clId="{325ED805-F480-4EFF-B64B-F815BB4CD031}" dt="2024-10-22T08:32:57.601" v="1396"/>
          <ac:picMkLst>
            <pc:docMk/>
            <pc:sldMk cId="1317534274" sldId="2147473390"/>
            <ac:picMk id="37" creationId="{177C29E1-4A7C-B225-361F-91CCA78FCD55}"/>
          </ac:picMkLst>
        </pc:picChg>
        <pc:picChg chg="mod">
          <ac:chgData name="Siragusa, Gianmarco" userId="6df33696-2e6a-41ba-bc49-d574214408bc" providerId="ADAL" clId="{325ED805-F480-4EFF-B64B-F815BB4CD031}" dt="2024-10-22T08:33:02.827" v="1400"/>
          <ac:picMkLst>
            <pc:docMk/>
            <pc:sldMk cId="1317534274" sldId="2147473390"/>
            <ac:picMk id="42" creationId="{E7B8A0DB-DEB8-4D38-E6FC-B20A1FC35FDD}"/>
          </ac:picMkLst>
        </pc:picChg>
        <pc:picChg chg="add del mod">
          <ac:chgData name="Siragusa, Gianmarco" userId="6df33696-2e6a-41ba-bc49-d574214408bc" providerId="ADAL" clId="{325ED805-F480-4EFF-B64B-F815BB4CD031}" dt="2024-10-22T10:19:23.694" v="1545" actId="478"/>
          <ac:picMkLst>
            <pc:docMk/>
            <pc:sldMk cId="1317534274" sldId="2147473390"/>
            <ac:picMk id="45" creationId="{7D2F3851-3793-4261-E651-95B3AC2A9B38}"/>
          </ac:picMkLst>
        </pc:picChg>
        <pc:picChg chg="add mod">
          <ac:chgData name="Siragusa, Gianmarco" userId="6df33696-2e6a-41ba-bc49-d574214408bc" providerId="ADAL" clId="{325ED805-F480-4EFF-B64B-F815BB4CD031}" dt="2024-10-22T10:21:19.414" v="1600"/>
          <ac:picMkLst>
            <pc:docMk/>
            <pc:sldMk cId="1317534274" sldId="2147473390"/>
            <ac:picMk id="60" creationId="{B6438E1C-16CB-6F44-A088-081DAD015FF0}"/>
          </ac:picMkLst>
        </pc:picChg>
        <pc:picChg chg="add del mod">
          <ac:chgData name="Siragusa, Gianmarco" userId="6df33696-2e6a-41ba-bc49-d574214408bc" providerId="ADAL" clId="{325ED805-F480-4EFF-B64B-F815BB4CD031}" dt="2024-10-22T10:26:25.878" v="1677" actId="478"/>
          <ac:picMkLst>
            <pc:docMk/>
            <pc:sldMk cId="1317534274" sldId="2147473390"/>
            <ac:picMk id="62" creationId="{DAE7ACA1-2921-AF60-0257-E4D25636CD77}"/>
          </ac:picMkLst>
        </pc:picChg>
        <pc:picChg chg="add mod ord">
          <ac:chgData name="Siragusa, Gianmarco" userId="6df33696-2e6a-41ba-bc49-d574214408bc" providerId="ADAL" clId="{325ED805-F480-4EFF-B64B-F815BB4CD031}" dt="2024-10-22T10:23:14.273" v="1633" actId="164"/>
          <ac:picMkLst>
            <pc:docMk/>
            <pc:sldMk cId="1317534274" sldId="2147473390"/>
            <ac:picMk id="67" creationId="{AEC06C08-FBAB-D0CB-C9CE-EA2D7560AD40}"/>
          </ac:picMkLst>
        </pc:picChg>
        <pc:picChg chg="mod">
          <ac:chgData name="Siragusa, Gianmarco" userId="6df33696-2e6a-41ba-bc49-d574214408bc" providerId="ADAL" clId="{325ED805-F480-4EFF-B64B-F815BB4CD031}" dt="2024-10-22T10:26:26.351" v="1678"/>
          <ac:picMkLst>
            <pc:docMk/>
            <pc:sldMk cId="1317534274" sldId="2147473390"/>
            <ac:picMk id="78" creationId="{0C471EEA-9E3F-B18E-A581-854E759E7AD7}"/>
          </ac:picMkLst>
        </pc:picChg>
        <pc:picChg chg="add del mod">
          <ac:chgData name="Siragusa, Gianmarco" userId="6df33696-2e6a-41ba-bc49-d574214408bc" providerId="ADAL" clId="{325ED805-F480-4EFF-B64B-F815BB4CD031}" dt="2024-10-22T13:47:38.386" v="1827" actId="478"/>
          <ac:picMkLst>
            <pc:docMk/>
            <pc:sldMk cId="1317534274" sldId="2147473390"/>
            <ac:picMk id="79" creationId="{C1F868D0-FCB5-C6D7-E1A4-D0482261BA7D}"/>
          </ac:picMkLst>
        </pc:picChg>
        <pc:cxnChg chg="add mod">
          <ac:chgData name="Siragusa, Gianmarco" userId="6df33696-2e6a-41ba-bc49-d574214408bc" providerId="ADAL" clId="{325ED805-F480-4EFF-B64B-F815BB4CD031}" dt="2024-10-22T13:48:33.150" v="1878" actId="14100"/>
          <ac:cxnSpMkLst>
            <pc:docMk/>
            <pc:sldMk cId="1317534274" sldId="2147473390"/>
            <ac:cxnSpMk id="54" creationId="{9F1E92DF-5A27-B7F1-693B-813C13546777}"/>
          </ac:cxnSpMkLst>
        </pc:cxnChg>
        <pc:cxnChg chg="add mod">
          <ac:chgData name="Siragusa, Gianmarco" userId="6df33696-2e6a-41ba-bc49-d574214408bc" providerId="ADAL" clId="{325ED805-F480-4EFF-B64B-F815BB4CD031}" dt="2024-10-22T13:48:46.045" v="1888" actId="1038"/>
          <ac:cxnSpMkLst>
            <pc:docMk/>
            <pc:sldMk cId="1317534274" sldId="2147473390"/>
            <ac:cxnSpMk id="55" creationId="{60687D27-C491-7F59-BBD5-EDDFA7A226B4}"/>
          </ac:cxnSpMkLst>
        </pc:cxnChg>
        <pc:cxnChg chg="add del mod">
          <ac:chgData name="Siragusa, Gianmarco" userId="6df33696-2e6a-41ba-bc49-d574214408bc" providerId="ADAL" clId="{325ED805-F480-4EFF-B64B-F815BB4CD031}" dt="2024-10-22T10:26:25.878" v="1677" actId="478"/>
          <ac:cxnSpMkLst>
            <pc:docMk/>
            <pc:sldMk cId="1317534274" sldId="2147473390"/>
            <ac:cxnSpMk id="68" creationId="{B232B969-03E1-E51A-4486-C236FCF991DC}"/>
          </ac:cxnSpMkLst>
        </pc:cxnChg>
        <pc:cxnChg chg="add del mod">
          <ac:chgData name="Siragusa, Gianmarco" userId="6df33696-2e6a-41ba-bc49-d574214408bc" providerId="ADAL" clId="{325ED805-F480-4EFF-B64B-F815BB4CD031}" dt="2024-10-22T13:48:21.212" v="1857" actId="478"/>
          <ac:cxnSpMkLst>
            <pc:docMk/>
            <pc:sldMk cId="1317534274" sldId="2147473390"/>
            <ac:cxnSpMk id="75" creationId="{20777357-7EF7-7209-D892-DB24B55631EF}"/>
          </ac:cxnSpMkLst>
        </pc:cxnChg>
        <pc:cxnChg chg="add mod">
          <ac:chgData name="Siragusa, Gianmarco" userId="6df33696-2e6a-41ba-bc49-d574214408bc" providerId="ADAL" clId="{325ED805-F480-4EFF-B64B-F815BB4CD031}" dt="2024-10-22T13:48:19.532" v="1856"/>
          <ac:cxnSpMkLst>
            <pc:docMk/>
            <pc:sldMk cId="1317534274" sldId="2147473390"/>
            <ac:cxnSpMk id="91" creationId="{47181F9E-A62D-E0B4-94F8-3F34C2C1BC29}"/>
          </ac:cxnSpMkLst>
        </pc:cxnChg>
      </pc:sldChg>
      <pc:sldChg chg="addSp delSp modSp add del mod">
        <pc:chgData name="Siragusa, Gianmarco" userId="6df33696-2e6a-41ba-bc49-d574214408bc" providerId="ADAL" clId="{325ED805-F480-4EFF-B64B-F815BB4CD031}" dt="2024-10-22T13:52:45.757" v="1935" actId="47"/>
        <pc:sldMkLst>
          <pc:docMk/>
          <pc:sldMk cId="4101137028" sldId="2147473391"/>
        </pc:sldMkLst>
        <pc:spChg chg="mod">
          <ac:chgData name="Siragusa, Gianmarco" userId="6df33696-2e6a-41ba-bc49-d574214408bc" providerId="ADAL" clId="{325ED805-F480-4EFF-B64B-F815BB4CD031}" dt="2024-10-22T08:33:31.329" v="1411" actId="20577"/>
          <ac:spMkLst>
            <pc:docMk/>
            <pc:sldMk cId="4101137028" sldId="2147473391"/>
            <ac:spMk id="4" creationId="{86D61347-C5FF-B872-10AB-74CBE5B3246F}"/>
          </ac:spMkLst>
        </pc:spChg>
        <pc:spChg chg="add mod ord">
          <ac:chgData name="Siragusa, Gianmarco" userId="6df33696-2e6a-41ba-bc49-d574214408bc" providerId="ADAL" clId="{325ED805-F480-4EFF-B64B-F815BB4CD031}" dt="2024-10-22T08:36:33.005" v="1429" actId="167"/>
          <ac:spMkLst>
            <pc:docMk/>
            <pc:sldMk cId="4101137028" sldId="2147473391"/>
            <ac:spMk id="5" creationId="{19161672-0F53-AFFD-E34B-89C0981232E1}"/>
          </ac:spMkLst>
        </pc:spChg>
        <pc:spChg chg="add mod">
          <ac:chgData name="Siragusa, Gianmarco" userId="6df33696-2e6a-41ba-bc49-d574214408bc" providerId="ADAL" clId="{325ED805-F480-4EFF-B64B-F815BB4CD031}" dt="2024-10-22T08:36:41.108" v="1433" actId="571"/>
          <ac:spMkLst>
            <pc:docMk/>
            <pc:sldMk cId="4101137028" sldId="2147473391"/>
            <ac:spMk id="6" creationId="{C679A9E6-BAE0-A79B-A842-620904C9431E}"/>
          </ac:spMkLst>
        </pc:spChg>
        <pc:spChg chg="add mod">
          <ac:chgData name="Siragusa, Gianmarco" userId="6df33696-2e6a-41ba-bc49-d574214408bc" providerId="ADAL" clId="{325ED805-F480-4EFF-B64B-F815BB4CD031}" dt="2024-10-22T08:36:41.108" v="1433" actId="571"/>
          <ac:spMkLst>
            <pc:docMk/>
            <pc:sldMk cId="4101137028" sldId="2147473391"/>
            <ac:spMk id="8" creationId="{B69F4140-598C-8245-7504-8E979049D495}"/>
          </ac:spMkLst>
        </pc:spChg>
        <pc:spChg chg="add mod ord">
          <ac:chgData name="Siragusa, Gianmarco" userId="6df33696-2e6a-41ba-bc49-d574214408bc" providerId="ADAL" clId="{325ED805-F480-4EFF-B64B-F815BB4CD031}" dt="2024-10-22T08:36:52.070" v="1436" actId="167"/>
          <ac:spMkLst>
            <pc:docMk/>
            <pc:sldMk cId="4101137028" sldId="2147473391"/>
            <ac:spMk id="9" creationId="{6A89CD58-232C-C30C-888B-0E449FC4EDB9}"/>
          </ac:spMkLst>
        </pc:spChg>
        <pc:spChg chg="add del mod">
          <ac:chgData name="Siragusa, Gianmarco" userId="6df33696-2e6a-41ba-bc49-d574214408bc" providerId="ADAL" clId="{325ED805-F480-4EFF-B64B-F815BB4CD031}" dt="2024-10-22T08:36:59.596" v="1438" actId="478"/>
          <ac:spMkLst>
            <pc:docMk/>
            <pc:sldMk cId="4101137028" sldId="2147473391"/>
            <ac:spMk id="11" creationId="{C689505D-22EB-E0B5-5E66-86BF28EF1CCC}"/>
          </ac:spMkLst>
        </pc:spChg>
        <pc:spChg chg="add mod ord">
          <ac:chgData name="Siragusa, Gianmarco" userId="6df33696-2e6a-41ba-bc49-d574214408bc" providerId="ADAL" clId="{325ED805-F480-4EFF-B64B-F815BB4CD031}" dt="2024-10-22T08:37:18.030" v="1442" actId="167"/>
          <ac:spMkLst>
            <pc:docMk/>
            <pc:sldMk cId="4101137028" sldId="2147473391"/>
            <ac:spMk id="12" creationId="{6C6B0DEC-48DC-E1FE-D3F6-66735A439161}"/>
          </ac:spMkLst>
        </pc:spChg>
        <pc:spChg chg="add mod">
          <ac:chgData name="Siragusa, Gianmarco" userId="6df33696-2e6a-41ba-bc49-d574214408bc" providerId="ADAL" clId="{325ED805-F480-4EFF-B64B-F815BB4CD031}" dt="2024-10-22T10:18:37.038" v="1540"/>
          <ac:spMkLst>
            <pc:docMk/>
            <pc:sldMk cId="4101137028" sldId="2147473391"/>
            <ac:spMk id="13" creationId="{33A3D7EA-2F4E-8BEC-4AC6-3B8FFC42EC2D}"/>
          </ac:spMkLst>
        </pc:spChg>
        <pc:spChg chg="add mod">
          <ac:chgData name="Siragusa, Gianmarco" userId="6df33696-2e6a-41ba-bc49-d574214408bc" providerId="ADAL" clId="{325ED805-F480-4EFF-B64B-F815BB4CD031}" dt="2024-10-22T10:18:37.038" v="1540"/>
          <ac:spMkLst>
            <pc:docMk/>
            <pc:sldMk cId="4101137028" sldId="2147473391"/>
            <ac:spMk id="15" creationId="{C3BFB76A-6B1F-016A-F6E2-86A71108A359}"/>
          </ac:spMkLst>
        </pc:spChg>
        <pc:spChg chg="add mod">
          <ac:chgData name="Siragusa, Gianmarco" userId="6df33696-2e6a-41ba-bc49-d574214408bc" providerId="ADAL" clId="{325ED805-F480-4EFF-B64B-F815BB4CD031}" dt="2024-10-22T10:18:37.038" v="1540"/>
          <ac:spMkLst>
            <pc:docMk/>
            <pc:sldMk cId="4101137028" sldId="2147473391"/>
            <ac:spMk id="16" creationId="{0491E03E-E0BD-B4AB-6CAC-0B9C4F225D93}"/>
          </ac:spMkLst>
        </pc:spChg>
        <pc:spChg chg="del mod">
          <ac:chgData name="Siragusa, Gianmarco" userId="6df33696-2e6a-41ba-bc49-d574214408bc" providerId="ADAL" clId="{325ED805-F480-4EFF-B64B-F815BB4CD031}" dt="2024-10-22T10:18:36.522" v="1539" actId="478"/>
          <ac:spMkLst>
            <pc:docMk/>
            <pc:sldMk cId="4101137028" sldId="2147473391"/>
            <ac:spMk id="17" creationId="{BB3AAE56-9349-9FBA-7C52-DD2103A39B2A}"/>
          </ac:spMkLst>
        </pc:spChg>
        <pc:spChg chg="mod">
          <ac:chgData name="Siragusa, Gianmarco" userId="6df33696-2e6a-41ba-bc49-d574214408bc" providerId="ADAL" clId="{325ED805-F480-4EFF-B64B-F815BB4CD031}" dt="2024-10-22T10:18:46.754" v="1541" actId="12"/>
          <ac:spMkLst>
            <pc:docMk/>
            <pc:sldMk cId="4101137028" sldId="2147473391"/>
            <ac:spMk id="20" creationId="{0D25C128-6BA9-F4DA-6810-E737988E9364}"/>
          </ac:spMkLst>
        </pc:spChg>
        <pc:spChg chg="del mod">
          <ac:chgData name="Siragusa, Gianmarco" userId="6df33696-2e6a-41ba-bc49-d574214408bc" providerId="ADAL" clId="{325ED805-F480-4EFF-B64B-F815BB4CD031}" dt="2024-10-22T10:18:36.522" v="1539" actId="478"/>
          <ac:spMkLst>
            <pc:docMk/>
            <pc:sldMk cId="4101137028" sldId="2147473391"/>
            <ac:spMk id="22" creationId="{E621E8BA-4341-0B81-D182-0BF7B215D45A}"/>
          </ac:spMkLst>
        </pc:spChg>
        <pc:spChg chg="mod">
          <ac:chgData name="Siragusa, Gianmarco" userId="6df33696-2e6a-41ba-bc49-d574214408bc" providerId="ADAL" clId="{325ED805-F480-4EFF-B64B-F815BB4CD031}" dt="2024-10-22T10:18:46.754" v="1541" actId="12"/>
          <ac:spMkLst>
            <pc:docMk/>
            <pc:sldMk cId="4101137028" sldId="2147473391"/>
            <ac:spMk id="25" creationId="{074D2164-401A-BA80-0631-D8312881407E}"/>
          </ac:spMkLst>
        </pc:spChg>
        <pc:spChg chg="del mod">
          <ac:chgData name="Siragusa, Gianmarco" userId="6df33696-2e6a-41ba-bc49-d574214408bc" providerId="ADAL" clId="{325ED805-F480-4EFF-B64B-F815BB4CD031}" dt="2024-10-22T10:18:36.522" v="1539" actId="478"/>
          <ac:spMkLst>
            <pc:docMk/>
            <pc:sldMk cId="4101137028" sldId="2147473391"/>
            <ac:spMk id="28" creationId="{4D002664-A19A-3854-BB40-5E70DAD424CC}"/>
          </ac:spMkLst>
        </pc:spChg>
        <pc:spChg chg="mod">
          <ac:chgData name="Siragusa, Gianmarco" userId="6df33696-2e6a-41ba-bc49-d574214408bc" providerId="ADAL" clId="{325ED805-F480-4EFF-B64B-F815BB4CD031}" dt="2024-10-22T10:18:46.754" v="1541" actId="12"/>
          <ac:spMkLst>
            <pc:docMk/>
            <pc:sldMk cId="4101137028" sldId="2147473391"/>
            <ac:spMk id="30" creationId="{0375CAC0-63BD-36C3-46F7-ACBBA8E8C386}"/>
          </ac:spMkLst>
        </pc:spChg>
      </pc:sldChg>
      <pc:sldChg chg="addSp delSp modSp add mod">
        <pc:chgData name="Siragusa, Gianmarco" userId="6df33696-2e6a-41ba-bc49-d574214408bc" providerId="ADAL" clId="{325ED805-F480-4EFF-B64B-F815BB4CD031}" dt="2024-10-22T10:16:32.830" v="1514" actId="478"/>
        <pc:sldMkLst>
          <pc:docMk/>
          <pc:sldMk cId="3757975845" sldId="2147473392"/>
        </pc:sldMkLst>
        <pc:spChg chg="add del mod">
          <ac:chgData name="Siragusa, Gianmarco" userId="6df33696-2e6a-41ba-bc49-d574214408bc" providerId="ADAL" clId="{325ED805-F480-4EFF-B64B-F815BB4CD031}" dt="2024-10-22T10:16:23.879" v="1510" actId="478"/>
          <ac:spMkLst>
            <pc:docMk/>
            <pc:sldMk cId="3757975845" sldId="2147473392"/>
            <ac:spMk id="6" creationId="{0D634348-59C6-84C4-DE80-23E4E05FDD41}"/>
          </ac:spMkLst>
        </pc:spChg>
        <pc:spChg chg="add mod">
          <ac:chgData name="Siragusa, Gianmarco" userId="6df33696-2e6a-41ba-bc49-d574214408bc" providerId="ADAL" clId="{325ED805-F480-4EFF-B64B-F815BB4CD031}" dt="2024-10-22T10:15:37.505" v="1500" actId="164"/>
          <ac:spMkLst>
            <pc:docMk/>
            <pc:sldMk cId="3757975845" sldId="2147473392"/>
            <ac:spMk id="7" creationId="{EE6B7983-A7C9-33AD-3E86-A15ADD306CCC}"/>
          </ac:spMkLst>
        </pc:spChg>
        <pc:spChg chg="add mod">
          <ac:chgData name="Siragusa, Gianmarco" userId="6df33696-2e6a-41ba-bc49-d574214408bc" providerId="ADAL" clId="{325ED805-F480-4EFF-B64B-F815BB4CD031}" dt="2024-10-22T10:15:37.505" v="1500" actId="164"/>
          <ac:spMkLst>
            <pc:docMk/>
            <pc:sldMk cId="3757975845" sldId="2147473392"/>
            <ac:spMk id="8" creationId="{0AF7EE9E-F9F6-72C8-6111-D3565EECE897}"/>
          </ac:spMkLst>
        </pc:spChg>
        <pc:spChg chg="add del mod">
          <ac:chgData name="Siragusa, Gianmarco" userId="6df33696-2e6a-41ba-bc49-d574214408bc" providerId="ADAL" clId="{325ED805-F480-4EFF-B64B-F815BB4CD031}" dt="2024-10-22T10:16:13.315" v="1508" actId="478"/>
          <ac:spMkLst>
            <pc:docMk/>
            <pc:sldMk cId="3757975845" sldId="2147473392"/>
            <ac:spMk id="11" creationId="{67AB66EA-FFB4-15C8-5ADF-983902A38CF6}"/>
          </ac:spMkLst>
        </pc:spChg>
        <pc:spChg chg="add mod">
          <ac:chgData name="Siragusa, Gianmarco" userId="6df33696-2e6a-41ba-bc49-d574214408bc" providerId="ADAL" clId="{325ED805-F480-4EFF-B64B-F815BB4CD031}" dt="2024-10-22T10:16:30.471" v="1513" actId="1076"/>
          <ac:spMkLst>
            <pc:docMk/>
            <pc:sldMk cId="3757975845" sldId="2147473392"/>
            <ac:spMk id="12" creationId="{0C8D7C5D-5552-C9B0-02AE-CB728B12733B}"/>
          </ac:spMkLst>
        </pc:spChg>
        <pc:spChg chg="add mod">
          <ac:chgData name="Siragusa, Gianmarco" userId="6df33696-2e6a-41ba-bc49-d574214408bc" providerId="ADAL" clId="{325ED805-F480-4EFF-B64B-F815BB4CD031}" dt="2024-10-22T10:16:30.471" v="1513" actId="1076"/>
          <ac:spMkLst>
            <pc:docMk/>
            <pc:sldMk cId="3757975845" sldId="2147473392"/>
            <ac:spMk id="13" creationId="{7F35C107-497D-4823-C384-BCF8E4E0563E}"/>
          </ac:spMkLst>
        </pc:spChg>
        <pc:grpChg chg="add del mod">
          <ac:chgData name="Siragusa, Gianmarco" userId="6df33696-2e6a-41ba-bc49-d574214408bc" providerId="ADAL" clId="{325ED805-F480-4EFF-B64B-F815BB4CD031}" dt="2024-10-22T10:16:32.830" v="1514" actId="478"/>
          <ac:grpSpMkLst>
            <pc:docMk/>
            <pc:sldMk cId="3757975845" sldId="2147473392"/>
            <ac:grpSpMk id="10" creationId="{3442BE62-7D41-B782-3654-ED579A94152F}"/>
          </ac:grpSpMkLst>
        </pc:grpChg>
        <pc:grpChg chg="del">
          <ac:chgData name="Siragusa, Gianmarco" userId="6df33696-2e6a-41ba-bc49-d574214408bc" providerId="ADAL" clId="{325ED805-F480-4EFF-B64B-F815BB4CD031}" dt="2024-10-22T10:15:18.828" v="1487" actId="478"/>
          <ac:grpSpMkLst>
            <pc:docMk/>
            <pc:sldMk cId="3757975845" sldId="2147473392"/>
            <ac:grpSpMk id="32" creationId="{9CAB5CA3-2E04-A376-598B-A55D09BA73EC}"/>
          </ac:grpSpMkLst>
        </pc:grpChg>
        <pc:picChg chg="add mod">
          <ac:chgData name="Siragusa, Gianmarco" userId="6df33696-2e6a-41ba-bc49-d574214408bc" providerId="ADAL" clId="{325ED805-F480-4EFF-B64B-F815BB4CD031}" dt="2024-10-22T10:15:37.505" v="1500" actId="164"/>
          <ac:picMkLst>
            <pc:docMk/>
            <pc:sldMk cId="3757975845" sldId="2147473392"/>
            <ac:picMk id="9" creationId="{8A5370E8-12CD-5B1F-58EB-C1D2F5126A0B}"/>
          </ac:picMkLst>
        </pc:picChg>
      </pc:sldChg>
      <pc:sldChg chg="add del ord">
        <pc:chgData name="Siragusa, Gianmarco" userId="6df33696-2e6a-41ba-bc49-d574214408bc" providerId="ADAL" clId="{325ED805-F480-4EFF-B64B-F815BB4CD031}" dt="2024-10-22T13:52:45.757" v="1935" actId="47"/>
        <pc:sldMkLst>
          <pc:docMk/>
          <pc:sldMk cId="46185535" sldId="2147473393"/>
        </pc:sldMkLst>
      </pc:sldChg>
      <pc:sldChg chg="addSp delSp modSp add del mod ord">
        <pc:chgData name="Siragusa, Gianmarco" userId="6df33696-2e6a-41ba-bc49-d574214408bc" providerId="ADAL" clId="{325ED805-F480-4EFF-B64B-F815BB4CD031}" dt="2024-10-22T13:52:49.638" v="1936" actId="47"/>
        <pc:sldMkLst>
          <pc:docMk/>
          <pc:sldMk cId="2158232292" sldId="2147473394"/>
        </pc:sldMkLst>
        <pc:spChg chg="mod">
          <ac:chgData name="Siragusa, Gianmarco" userId="6df33696-2e6a-41ba-bc49-d574214408bc" providerId="ADAL" clId="{325ED805-F480-4EFF-B64B-F815BB4CD031}" dt="2024-10-22T10:24:12.477" v="1652" actId="20577"/>
          <ac:spMkLst>
            <pc:docMk/>
            <pc:sldMk cId="2158232292" sldId="2147473394"/>
            <ac:spMk id="4" creationId="{86D61347-C5FF-B872-10AB-74CBE5B3246F}"/>
          </ac:spMkLst>
        </pc:spChg>
        <pc:spChg chg="mod topLvl">
          <ac:chgData name="Siragusa, Gianmarco" userId="6df33696-2e6a-41ba-bc49-d574214408bc" providerId="ADAL" clId="{325ED805-F480-4EFF-B64B-F815BB4CD031}" dt="2024-10-22T13:48:14.629" v="1855" actId="1035"/>
          <ac:spMkLst>
            <pc:docMk/>
            <pc:sldMk cId="2158232292" sldId="2147473394"/>
            <ac:spMk id="9" creationId="{2E2962BC-06CD-D1E4-6B8A-0C49EA2123DC}"/>
          </ac:spMkLst>
        </pc:spChg>
        <pc:spChg chg="add mod ord">
          <ac:chgData name="Siragusa, Gianmarco" userId="6df33696-2e6a-41ba-bc49-d574214408bc" providerId="ADAL" clId="{325ED805-F480-4EFF-B64B-F815BB4CD031}" dt="2024-10-22T13:46:47.134" v="1811" actId="14100"/>
          <ac:spMkLst>
            <pc:docMk/>
            <pc:sldMk cId="2158232292" sldId="2147473394"/>
            <ac:spMk id="12" creationId="{66DAF50F-BFA2-51A0-F986-5CF8D0B75EA5}"/>
          </ac:spMkLst>
        </pc:spChg>
        <pc:spChg chg="add mod ord">
          <ac:chgData name="Siragusa, Gianmarco" userId="6df33696-2e6a-41ba-bc49-d574214408bc" providerId="ADAL" clId="{325ED805-F480-4EFF-B64B-F815BB4CD031}" dt="2024-10-22T13:46:21.174" v="1803" actId="14100"/>
          <ac:spMkLst>
            <pc:docMk/>
            <pc:sldMk cId="2158232292" sldId="2147473394"/>
            <ac:spMk id="13" creationId="{35A53AEB-1576-1B2A-2212-1ADDEA12C76F}"/>
          </ac:spMkLst>
        </pc:spChg>
        <pc:spChg chg="add mod ord">
          <ac:chgData name="Siragusa, Gianmarco" userId="6df33696-2e6a-41ba-bc49-d574214408bc" providerId="ADAL" clId="{325ED805-F480-4EFF-B64B-F815BB4CD031}" dt="2024-10-22T13:46:50.092" v="1812" actId="14100"/>
          <ac:spMkLst>
            <pc:docMk/>
            <pc:sldMk cId="2158232292" sldId="2147473394"/>
            <ac:spMk id="14" creationId="{F4C8DE55-B7F4-9AD1-403F-918D0346B176}"/>
          </ac:spMkLst>
        </pc:spChg>
        <pc:spChg chg="add mod ord">
          <ac:chgData name="Siragusa, Gianmarco" userId="6df33696-2e6a-41ba-bc49-d574214408bc" providerId="ADAL" clId="{325ED805-F480-4EFF-B64B-F815BB4CD031}" dt="2024-10-22T13:46:17.077" v="1802" actId="167"/>
          <ac:spMkLst>
            <pc:docMk/>
            <pc:sldMk cId="2158232292" sldId="2147473394"/>
            <ac:spMk id="15" creationId="{5934065C-FF38-9A21-B86D-48DB7EBBEF5D}"/>
          </ac:spMkLst>
        </pc:spChg>
        <pc:spChg chg="add mod ord">
          <ac:chgData name="Siragusa, Gianmarco" userId="6df33696-2e6a-41ba-bc49-d574214408bc" providerId="ADAL" clId="{325ED805-F480-4EFF-B64B-F815BB4CD031}" dt="2024-10-22T13:46:17.077" v="1802" actId="167"/>
          <ac:spMkLst>
            <pc:docMk/>
            <pc:sldMk cId="2158232292" sldId="2147473394"/>
            <ac:spMk id="16" creationId="{C735B2C7-908D-A64F-F574-4BA240F5FC12}"/>
          </ac:spMkLst>
        </pc:spChg>
        <pc:spChg chg="add mod ord">
          <ac:chgData name="Siragusa, Gianmarco" userId="6df33696-2e6a-41ba-bc49-d574214408bc" providerId="ADAL" clId="{325ED805-F480-4EFF-B64B-F815BB4CD031}" dt="2024-10-22T13:46:17.077" v="1802" actId="167"/>
          <ac:spMkLst>
            <pc:docMk/>
            <pc:sldMk cId="2158232292" sldId="2147473394"/>
            <ac:spMk id="17" creationId="{CEB143E2-C91D-C9B6-21B6-CAF360329197}"/>
          </ac:spMkLst>
        </pc:spChg>
        <pc:spChg chg="add del mod">
          <ac:chgData name="Siragusa, Gianmarco" userId="6df33696-2e6a-41ba-bc49-d574214408bc" providerId="ADAL" clId="{325ED805-F480-4EFF-B64B-F815BB4CD031}" dt="2024-10-22T13:47:20.342" v="1819" actId="478"/>
          <ac:spMkLst>
            <pc:docMk/>
            <pc:sldMk cId="2158232292" sldId="2147473394"/>
            <ac:spMk id="18" creationId="{798BAD29-5B14-EC72-B41A-D580F3AB8A59}"/>
          </ac:spMkLst>
        </pc:spChg>
        <pc:spChg chg="add mod">
          <ac:chgData name="Siragusa, Gianmarco" userId="6df33696-2e6a-41ba-bc49-d574214408bc" providerId="ADAL" clId="{325ED805-F480-4EFF-B64B-F815BB4CD031}" dt="2024-10-22T13:47:46.539" v="1829" actId="1076"/>
          <ac:spMkLst>
            <pc:docMk/>
            <pc:sldMk cId="2158232292" sldId="2147473394"/>
            <ac:spMk id="19" creationId="{556427D6-3996-4A16-E9BA-1202E9DE16C1}"/>
          </ac:spMkLst>
        </pc:spChg>
        <pc:spChg chg="del">
          <ac:chgData name="Siragusa, Gianmarco" userId="6df33696-2e6a-41ba-bc49-d574214408bc" providerId="ADAL" clId="{325ED805-F480-4EFF-B64B-F815BB4CD031}" dt="2024-10-22T13:46:13.596" v="1800" actId="478"/>
          <ac:spMkLst>
            <pc:docMk/>
            <pc:sldMk cId="2158232292" sldId="2147473394"/>
            <ac:spMk id="46" creationId="{E8BB4599-72B7-98C6-24D1-2A7741C363F0}"/>
          </ac:spMkLst>
        </pc:spChg>
        <pc:spChg chg="del">
          <ac:chgData name="Siragusa, Gianmarco" userId="6df33696-2e6a-41ba-bc49-d574214408bc" providerId="ADAL" clId="{325ED805-F480-4EFF-B64B-F815BB4CD031}" dt="2024-10-22T13:46:13.596" v="1800" actId="478"/>
          <ac:spMkLst>
            <pc:docMk/>
            <pc:sldMk cId="2158232292" sldId="2147473394"/>
            <ac:spMk id="49" creationId="{7E3C300B-EDCB-CEDA-DCCE-1BCE576DA342}"/>
          </ac:spMkLst>
        </pc:spChg>
        <pc:spChg chg="del">
          <ac:chgData name="Siragusa, Gianmarco" userId="6df33696-2e6a-41ba-bc49-d574214408bc" providerId="ADAL" clId="{325ED805-F480-4EFF-B64B-F815BB4CD031}" dt="2024-10-22T13:46:13.596" v="1800" actId="478"/>
          <ac:spMkLst>
            <pc:docMk/>
            <pc:sldMk cId="2158232292" sldId="2147473394"/>
            <ac:spMk id="50" creationId="{04747406-7A83-339B-3571-8580BBCA63F0}"/>
          </ac:spMkLst>
        </pc:spChg>
        <pc:spChg chg="mod">
          <ac:chgData name="Siragusa, Gianmarco" userId="6df33696-2e6a-41ba-bc49-d574214408bc" providerId="ADAL" clId="{325ED805-F480-4EFF-B64B-F815BB4CD031}" dt="2024-10-22T13:46:56.074" v="1813" actId="1076"/>
          <ac:spMkLst>
            <pc:docMk/>
            <pc:sldMk cId="2158232292" sldId="2147473394"/>
            <ac:spMk id="52" creationId="{0797BA31-2C5B-9998-F2D6-4E06F74E0C77}"/>
          </ac:spMkLst>
        </pc:spChg>
        <pc:spChg chg="mod">
          <ac:chgData name="Siragusa, Gianmarco" userId="6df33696-2e6a-41ba-bc49-d574214408bc" providerId="ADAL" clId="{325ED805-F480-4EFF-B64B-F815BB4CD031}" dt="2024-10-22T13:47:08.459" v="1817" actId="20577"/>
          <ac:spMkLst>
            <pc:docMk/>
            <pc:sldMk cId="2158232292" sldId="2147473394"/>
            <ac:spMk id="53" creationId="{679E37E3-79D6-5A98-C5BB-FB4ED9B3D086}"/>
          </ac:spMkLst>
        </pc:spChg>
        <pc:spChg chg="del">
          <ac:chgData name="Siragusa, Gianmarco" userId="6df33696-2e6a-41ba-bc49-d574214408bc" providerId="ADAL" clId="{325ED805-F480-4EFF-B64B-F815BB4CD031}" dt="2024-10-22T10:26:04.105" v="1673" actId="478"/>
          <ac:spMkLst>
            <pc:docMk/>
            <pc:sldMk cId="2158232292" sldId="2147473394"/>
            <ac:spMk id="61" creationId="{85586E0F-DCC8-6CBC-63AF-9106CAD84517}"/>
          </ac:spMkLst>
        </pc:spChg>
        <pc:spChg chg="del topLvl">
          <ac:chgData name="Siragusa, Gianmarco" userId="6df33696-2e6a-41ba-bc49-d574214408bc" providerId="ADAL" clId="{325ED805-F480-4EFF-B64B-F815BB4CD031}" dt="2024-10-22T13:46:24.097" v="1804" actId="478"/>
          <ac:spMkLst>
            <pc:docMk/>
            <pc:sldMk cId="2158232292" sldId="2147473394"/>
            <ac:spMk id="64" creationId="{CC5E7413-ED3B-3E4A-7427-C586343599BB}"/>
          </ac:spMkLst>
        </pc:spChg>
        <pc:spChg chg="del">
          <ac:chgData name="Siragusa, Gianmarco" userId="6df33696-2e6a-41ba-bc49-d574214408bc" providerId="ADAL" clId="{325ED805-F480-4EFF-B64B-F815BB4CD031}" dt="2024-10-22T10:25:10.627" v="1660" actId="478"/>
          <ac:spMkLst>
            <pc:docMk/>
            <pc:sldMk cId="2158232292" sldId="2147473394"/>
            <ac:spMk id="66" creationId="{8C61088F-A9BA-4BFC-4DA0-4B8E9B510DD0}"/>
          </ac:spMkLst>
        </pc:spChg>
        <pc:spChg chg="mod">
          <ac:chgData name="Siragusa, Gianmarco" userId="6df33696-2e6a-41ba-bc49-d574214408bc" providerId="ADAL" clId="{325ED805-F480-4EFF-B64B-F815BB4CD031}" dt="2024-10-22T13:46:39.505" v="1808" actId="1076"/>
          <ac:spMkLst>
            <pc:docMk/>
            <pc:sldMk cId="2158232292" sldId="2147473394"/>
            <ac:spMk id="73" creationId="{7DD68EDB-55F3-E27D-B011-CFE003131A09}"/>
          </ac:spMkLst>
        </pc:spChg>
        <pc:grpChg chg="add del mod">
          <ac:chgData name="Siragusa, Gianmarco" userId="6df33696-2e6a-41ba-bc49-d574214408bc" providerId="ADAL" clId="{325ED805-F480-4EFF-B64B-F815BB4CD031}" dt="2024-10-22T10:26:48.067" v="1686" actId="478"/>
          <ac:grpSpMkLst>
            <pc:docMk/>
            <pc:sldMk cId="2158232292" sldId="2147473394"/>
            <ac:grpSpMk id="8" creationId="{F63302E9-7608-0295-A3C2-79BDDE2C8260}"/>
          </ac:grpSpMkLst>
        </pc:grpChg>
        <pc:grpChg chg="del">
          <ac:chgData name="Siragusa, Gianmarco" userId="6df33696-2e6a-41ba-bc49-d574214408bc" providerId="ADAL" clId="{325ED805-F480-4EFF-B64B-F815BB4CD031}" dt="2024-10-22T10:25:06.038" v="1659" actId="478"/>
          <ac:grpSpMkLst>
            <pc:docMk/>
            <pc:sldMk cId="2158232292" sldId="2147473394"/>
            <ac:grpSpMk id="72" creationId="{248B743B-C800-E7E2-5034-686E6ABE0416}"/>
          </ac:grpSpMkLst>
        </pc:grpChg>
        <pc:picChg chg="add del mod ord">
          <ac:chgData name="Siragusa, Gianmarco" userId="6df33696-2e6a-41ba-bc49-d574214408bc" providerId="ADAL" clId="{325ED805-F480-4EFF-B64B-F815BB4CD031}" dt="2024-10-22T13:48:14.629" v="1855" actId="1035"/>
          <ac:picMkLst>
            <pc:docMk/>
            <pc:sldMk cId="2158232292" sldId="2147473394"/>
            <ac:picMk id="5" creationId="{A6E510BF-6BAF-8F51-8C38-E9C498ED717D}"/>
          </ac:picMkLst>
        </pc:picChg>
        <pc:picChg chg="del mod topLvl">
          <ac:chgData name="Siragusa, Gianmarco" userId="6df33696-2e6a-41ba-bc49-d574214408bc" providerId="ADAL" clId="{325ED805-F480-4EFF-B64B-F815BB4CD031}" dt="2024-10-22T10:26:48.067" v="1686" actId="478"/>
          <ac:picMkLst>
            <pc:docMk/>
            <pc:sldMk cId="2158232292" sldId="2147473394"/>
            <ac:picMk id="10" creationId="{16BC8066-8096-6EF5-A03B-0D36393F4D1C}"/>
          </ac:picMkLst>
        </pc:picChg>
        <pc:picChg chg="add del mod">
          <ac:chgData name="Siragusa, Gianmarco" userId="6df33696-2e6a-41ba-bc49-d574214408bc" providerId="ADAL" clId="{325ED805-F480-4EFF-B64B-F815BB4CD031}" dt="2024-10-22T13:47:21.768" v="1821" actId="478"/>
          <ac:picMkLst>
            <pc:docMk/>
            <pc:sldMk cId="2158232292" sldId="2147473394"/>
            <ac:picMk id="11" creationId="{18C37803-40C1-8EB6-853C-2B37F06EE07D}"/>
          </ac:picMkLst>
        </pc:picChg>
        <pc:picChg chg="add mod">
          <ac:chgData name="Siragusa, Gianmarco" userId="6df33696-2e6a-41ba-bc49-d574214408bc" providerId="ADAL" clId="{325ED805-F480-4EFF-B64B-F815BB4CD031}" dt="2024-10-22T13:47:58.215" v="1839" actId="1036"/>
          <ac:picMkLst>
            <pc:docMk/>
            <pc:sldMk cId="2158232292" sldId="2147473394"/>
            <ac:picMk id="20" creationId="{669B29BA-40BA-B055-7819-6C8ED09656BA}"/>
          </ac:picMkLst>
        </pc:picChg>
        <pc:picChg chg="del">
          <ac:chgData name="Siragusa, Gianmarco" userId="6df33696-2e6a-41ba-bc49-d574214408bc" providerId="ADAL" clId="{325ED805-F480-4EFF-B64B-F815BB4CD031}" dt="2024-10-22T10:26:03.273" v="1672" actId="478"/>
          <ac:picMkLst>
            <pc:docMk/>
            <pc:sldMk cId="2158232292" sldId="2147473394"/>
            <ac:picMk id="62" creationId="{DAE7ACA1-2921-AF60-0257-E4D25636CD77}"/>
          </ac:picMkLst>
        </pc:picChg>
        <pc:picChg chg="del topLvl">
          <ac:chgData name="Siragusa, Gianmarco" userId="6df33696-2e6a-41ba-bc49-d574214408bc" providerId="ADAL" clId="{325ED805-F480-4EFF-B64B-F815BB4CD031}" dt="2024-10-22T10:25:06.038" v="1659" actId="478"/>
          <ac:picMkLst>
            <pc:docMk/>
            <pc:sldMk cId="2158232292" sldId="2147473394"/>
            <ac:picMk id="67" creationId="{AEC06C08-FBAB-D0CB-C9CE-EA2D7560AD40}"/>
          </ac:picMkLst>
        </pc:picChg>
        <pc:cxnChg chg="add mod">
          <ac:chgData name="Siragusa, Gianmarco" userId="6df33696-2e6a-41ba-bc49-d574214408bc" providerId="ADAL" clId="{325ED805-F480-4EFF-B64B-F815BB4CD031}" dt="2024-10-22T13:48:14.629" v="1855" actId="1035"/>
          <ac:cxnSpMkLst>
            <pc:docMk/>
            <pc:sldMk cId="2158232292" sldId="2147473394"/>
            <ac:cxnSpMk id="7" creationId="{87D23739-9AEC-463C-2492-19034BDE42C5}"/>
          </ac:cxnSpMkLst>
        </pc:cxnChg>
        <pc:cxnChg chg="add mod">
          <ac:chgData name="Siragusa, Gianmarco" userId="6df33696-2e6a-41ba-bc49-d574214408bc" providerId="ADAL" clId="{325ED805-F480-4EFF-B64B-F815BB4CD031}" dt="2024-10-22T13:48:53.009" v="1890"/>
          <ac:cxnSpMkLst>
            <pc:docMk/>
            <pc:sldMk cId="2158232292" sldId="2147473394"/>
            <ac:cxnSpMk id="21" creationId="{04CFF6CA-8B98-9EB3-1C5E-11843978879F}"/>
          </ac:cxnSpMkLst>
        </pc:cxnChg>
        <pc:cxnChg chg="add mod">
          <ac:chgData name="Siragusa, Gianmarco" userId="6df33696-2e6a-41ba-bc49-d574214408bc" providerId="ADAL" clId="{325ED805-F480-4EFF-B64B-F815BB4CD031}" dt="2024-10-22T13:48:53.009" v="1890"/>
          <ac:cxnSpMkLst>
            <pc:docMk/>
            <pc:sldMk cId="2158232292" sldId="2147473394"/>
            <ac:cxnSpMk id="22" creationId="{81CE4403-584D-70B7-E1EE-2BFE73897476}"/>
          </ac:cxnSpMkLst>
        </pc:cxnChg>
        <pc:cxnChg chg="del mod">
          <ac:chgData name="Siragusa, Gianmarco" userId="6df33696-2e6a-41ba-bc49-d574214408bc" providerId="ADAL" clId="{325ED805-F480-4EFF-B64B-F815BB4CD031}" dt="2024-10-22T13:48:52.583" v="1889" actId="478"/>
          <ac:cxnSpMkLst>
            <pc:docMk/>
            <pc:sldMk cId="2158232292" sldId="2147473394"/>
            <ac:cxnSpMk id="54" creationId="{9F1E92DF-5A27-B7F1-693B-813C13546777}"/>
          </ac:cxnSpMkLst>
        </pc:cxnChg>
        <pc:cxnChg chg="del">
          <ac:chgData name="Siragusa, Gianmarco" userId="6df33696-2e6a-41ba-bc49-d574214408bc" providerId="ADAL" clId="{325ED805-F480-4EFF-B64B-F815BB4CD031}" dt="2024-10-22T13:48:52.583" v="1889" actId="478"/>
          <ac:cxnSpMkLst>
            <pc:docMk/>
            <pc:sldMk cId="2158232292" sldId="2147473394"/>
            <ac:cxnSpMk id="55" creationId="{60687D27-C491-7F59-BBD5-EDDFA7A226B4}"/>
          </ac:cxnSpMkLst>
        </pc:cxnChg>
        <pc:cxnChg chg="del">
          <ac:chgData name="Siragusa, Gianmarco" userId="6df33696-2e6a-41ba-bc49-d574214408bc" providerId="ADAL" clId="{325ED805-F480-4EFF-B64B-F815BB4CD031}" dt="2024-10-22T10:25:57.655" v="1669" actId="478"/>
          <ac:cxnSpMkLst>
            <pc:docMk/>
            <pc:sldMk cId="2158232292" sldId="2147473394"/>
            <ac:cxnSpMk id="68" creationId="{B232B969-03E1-E51A-4486-C236FCF991DC}"/>
          </ac:cxnSpMkLst>
        </pc:cxnChg>
      </pc:sldChg>
      <pc:sldChg chg="addSp delSp modSp add mod">
        <pc:chgData name="Siragusa, Gianmarco" userId="6df33696-2e6a-41ba-bc49-d574214408bc" providerId="ADAL" clId="{325ED805-F480-4EFF-B64B-F815BB4CD031}" dt="2024-10-22T13:52:40.651" v="1934" actId="207"/>
        <pc:sldMkLst>
          <pc:docMk/>
          <pc:sldMk cId="1886579336" sldId="2147473395"/>
        </pc:sldMkLst>
        <pc:spChg chg="add mod">
          <ac:chgData name="Siragusa, Gianmarco" userId="6df33696-2e6a-41ba-bc49-d574214408bc" providerId="ADAL" clId="{325ED805-F480-4EFF-B64B-F815BB4CD031}" dt="2024-10-22T13:50:58.053" v="1922" actId="207"/>
          <ac:spMkLst>
            <pc:docMk/>
            <pc:sldMk cId="1886579336" sldId="2147473395"/>
            <ac:spMk id="6" creationId="{89507E2D-6D2E-EF7A-8ACE-D512626BF8C6}"/>
          </ac:spMkLst>
        </pc:spChg>
        <pc:spChg chg="mod">
          <ac:chgData name="Siragusa, Gianmarco" userId="6df33696-2e6a-41ba-bc49-d574214408bc" providerId="ADAL" clId="{325ED805-F480-4EFF-B64B-F815BB4CD031}" dt="2024-10-22T13:51:40.990" v="1926" actId="207"/>
          <ac:spMkLst>
            <pc:docMk/>
            <pc:sldMk cId="1886579336" sldId="2147473395"/>
            <ac:spMk id="52" creationId="{0797BA31-2C5B-9998-F2D6-4E06F74E0C77}"/>
          </ac:spMkLst>
        </pc:spChg>
        <pc:spChg chg="del">
          <ac:chgData name="Siragusa, Gianmarco" userId="6df33696-2e6a-41ba-bc49-d574214408bc" providerId="ADAL" clId="{325ED805-F480-4EFF-B64B-F815BB4CD031}" dt="2024-10-22T13:49:18.474" v="1894" actId="478"/>
          <ac:spMkLst>
            <pc:docMk/>
            <pc:sldMk cId="1886579336" sldId="2147473395"/>
            <ac:spMk id="53" creationId="{679E37E3-79D6-5A98-C5BB-FB4ED9B3D086}"/>
          </ac:spMkLst>
        </pc:spChg>
        <pc:spChg chg="mod">
          <ac:chgData name="Siragusa, Gianmarco" userId="6df33696-2e6a-41ba-bc49-d574214408bc" providerId="ADAL" clId="{325ED805-F480-4EFF-B64B-F815BB4CD031}" dt="2024-10-22T13:52:40.651" v="1934" actId="207"/>
          <ac:spMkLst>
            <pc:docMk/>
            <pc:sldMk cId="1886579336" sldId="2147473395"/>
            <ac:spMk id="73" creationId="{7DD68EDB-55F3-E27D-B011-CFE003131A0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814D01-BDD8-4990-BF81-CF222F035518}" type="datetimeFigureOut">
              <a:rPr lang="en-GB" smtClean="0"/>
              <a:t>22/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59E88B-9101-4259-8AEA-46916CD57D03}" type="slidenum">
              <a:rPr lang="en-GB" smtClean="0"/>
              <a:t>‹N›</a:t>
            </a:fld>
            <a:endParaRPr lang="en-GB"/>
          </a:p>
        </p:txBody>
      </p:sp>
    </p:spTree>
    <p:extLst>
      <p:ext uri="{BB962C8B-B14F-4D97-AF65-F5344CB8AC3E}">
        <p14:creationId xmlns:p14="http://schemas.microsoft.com/office/powerpoint/2010/main" val="1221785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2B367FDF-702B-5643-9C05-E4EF6057DBF6}" type="slidenum">
              <a:rPr lang="it-IT" smtClean="0"/>
              <a:t>16</a:t>
            </a:fld>
            <a:endParaRPr lang="it-IT"/>
          </a:p>
        </p:txBody>
      </p:sp>
    </p:spTree>
    <p:extLst>
      <p:ext uri="{BB962C8B-B14F-4D97-AF65-F5344CB8AC3E}">
        <p14:creationId xmlns:p14="http://schemas.microsoft.com/office/powerpoint/2010/main" val="32218911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D7CC1-8B74-D5C2-36FF-B72FC59A9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57A0D55-3DF9-0E1D-191F-06A94CA0DC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7FA5170-A589-D57F-6A98-B4B40C08F4B3}"/>
              </a:ext>
            </a:extLst>
          </p:cNvPr>
          <p:cNvSpPr>
            <a:spLocks noGrp="1"/>
          </p:cNvSpPr>
          <p:nvPr>
            <p:ph type="dt" sz="half" idx="10"/>
          </p:nvPr>
        </p:nvSpPr>
        <p:spPr/>
        <p:txBody>
          <a:bodyPr/>
          <a:lstStyle/>
          <a:p>
            <a:fld id="{3DF0AE0C-1EDB-4817-803E-7BA7F9D52B2E}" type="datetime1">
              <a:rPr lang="en-GB" smtClean="0"/>
              <a:t>22/10/2024</a:t>
            </a:fld>
            <a:endParaRPr lang="en-GB"/>
          </a:p>
        </p:txBody>
      </p:sp>
      <p:sp>
        <p:nvSpPr>
          <p:cNvPr id="5" name="Footer Placeholder 4">
            <a:extLst>
              <a:ext uri="{FF2B5EF4-FFF2-40B4-BE49-F238E27FC236}">
                <a16:creationId xmlns:a16="http://schemas.microsoft.com/office/drawing/2014/main" id="{83B9D172-D59C-C442-94F0-F3BD7A8CFBA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CB44CA8-1908-5898-D805-9FDAD5C60432}"/>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8055819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965B4-32D4-4030-47A7-68A3E3F4EFE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E5F757F-F467-5883-F926-D1BE599AEAF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19D63AF-A880-F90F-0516-F76E0D5554D7}"/>
              </a:ext>
            </a:extLst>
          </p:cNvPr>
          <p:cNvSpPr>
            <a:spLocks noGrp="1"/>
          </p:cNvSpPr>
          <p:nvPr>
            <p:ph type="dt" sz="half" idx="10"/>
          </p:nvPr>
        </p:nvSpPr>
        <p:spPr/>
        <p:txBody>
          <a:bodyPr/>
          <a:lstStyle/>
          <a:p>
            <a:fld id="{91FC52E0-16DD-460D-AB52-6C664D95585A}" type="datetime1">
              <a:rPr lang="en-GB" smtClean="0"/>
              <a:t>22/10/2024</a:t>
            </a:fld>
            <a:endParaRPr lang="en-GB"/>
          </a:p>
        </p:txBody>
      </p:sp>
      <p:sp>
        <p:nvSpPr>
          <p:cNvPr id="5" name="Footer Placeholder 4">
            <a:extLst>
              <a:ext uri="{FF2B5EF4-FFF2-40B4-BE49-F238E27FC236}">
                <a16:creationId xmlns:a16="http://schemas.microsoft.com/office/drawing/2014/main" id="{D871E93D-53D9-4B44-43FC-D98929119CD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708DA4-6BFB-5F0C-7CD8-FB2FAD3E8ADC}"/>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9870324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CAD9A8-FDB7-16D2-958B-A4DE758DA9A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585A6F-AF23-E70B-6835-EF7B658FF2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DBC8C6-93F3-64AC-9040-0638F7E7316D}"/>
              </a:ext>
            </a:extLst>
          </p:cNvPr>
          <p:cNvSpPr>
            <a:spLocks noGrp="1"/>
          </p:cNvSpPr>
          <p:nvPr>
            <p:ph type="dt" sz="half" idx="10"/>
          </p:nvPr>
        </p:nvSpPr>
        <p:spPr/>
        <p:txBody>
          <a:bodyPr/>
          <a:lstStyle/>
          <a:p>
            <a:fld id="{1A9D522F-3CE4-450B-8884-564333B8B0CC}" type="datetime1">
              <a:rPr lang="en-GB" smtClean="0"/>
              <a:t>22/10/2024</a:t>
            </a:fld>
            <a:endParaRPr lang="en-GB"/>
          </a:p>
        </p:txBody>
      </p:sp>
      <p:sp>
        <p:nvSpPr>
          <p:cNvPr id="5" name="Footer Placeholder 4">
            <a:extLst>
              <a:ext uri="{FF2B5EF4-FFF2-40B4-BE49-F238E27FC236}">
                <a16:creationId xmlns:a16="http://schemas.microsoft.com/office/drawing/2014/main" id="{6D304DE4-BCEE-77A4-1D06-20CCF2DC49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032076-FE8F-B780-83FB-74507D45B2DD}"/>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133831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userDrawn="1">
            <p:custDataLst>
              <p:tags r:id="rId1"/>
            </p:custDataLst>
          </p:nvPr>
        </p:nvGraphicFramePr>
        <p:xfrm>
          <a:off x="2122" y="1606"/>
          <a:ext cx="2107" cy="1591"/>
        </p:xfrm>
        <a:graphic>
          <a:graphicData uri="http://schemas.openxmlformats.org/presentationml/2006/ole">
            <mc:AlternateContent xmlns:mc="http://schemas.openxmlformats.org/markup-compatibility/2006">
              <mc:Choice xmlns:v="urn:schemas-microsoft-com:vml" Requires="v">
                <p:oleObj name="think-cell Slide" r:id="rId4" imgW="572" imgH="476" progId="TCLayout.ActiveDocument.1">
                  <p:embed/>
                </p:oleObj>
              </mc:Choice>
              <mc:Fallback>
                <p:oleObj name="think-cell Slide" r:id="rId4" imgW="572" imgH="476" progId="TCLayout.ActiveDocument.1">
                  <p:embed/>
                  <p:pic>
                    <p:nvPicPr>
                      <p:cNvPr id="5" name="Oggetto 4" hidden="1"/>
                      <p:cNvPicPr/>
                      <p:nvPr/>
                    </p:nvPicPr>
                    <p:blipFill>
                      <a:blip r:embed="rId5"/>
                      <a:stretch>
                        <a:fillRect/>
                      </a:stretch>
                    </p:blipFill>
                    <p:spPr>
                      <a:xfrm>
                        <a:off x="2122" y="1606"/>
                        <a:ext cx="2107" cy="1591"/>
                      </a:xfrm>
                      <a:prstGeom prst="rect">
                        <a:avLst/>
                      </a:prstGeom>
                    </p:spPr>
                  </p:pic>
                </p:oleObj>
              </mc:Fallback>
            </mc:AlternateContent>
          </a:graphicData>
        </a:graphic>
      </p:graphicFrame>
      <p:sp>
        <p:nvSpPr>
          <p:cNvPr id="3" name="Rettangolo 2" hidden="1">
            <a:extLst>
              <a:ext uri="{FF2B5EF4-FFF2-40B4-BE49-F238E27FC236}">
                <a16:creationId xmlns:a16="http://schemas.microsoft.com/office/drawing/2014/main" id="{68C2F830-658E-4BC9-969D-03B24AE0AA2F}"/>
              </a:ext>
            </a:extLst>
          </p:cNvPr>
          <p:cNvSpPr/>
          <p:nvPr userDrawn="1">
            <p:custDataLst>
              <p:tags r:id="rId2"/>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it-IT" sz="4354">
              <a:solidFill>
                <a:srgbClr val="D8DCED"/>
              </a:solidFill>
              <a:latin typeface="Arial" panose="020B0604020202020204" pitchFamily="34" charset="0"/>
              <a:ea typeface="ＭＳ Ｐゴシック" pitchFamily="34" charset="-128"/>
              <a:sym typeface="Arial" panose="020B0604020202020204" pitchFamily="34" charset="0"/>
            </a:endParaRPr>
          </a:p>
        </p:txBody>
      </p:sp>
      <p:sp>
        <p:nvSpPr>
          <p:cNvPr id="4" name="Text Placeholder 3">
            <a:extLst>
              <a:ext uri="{FF2B5EF4-FFF2-40B4-BE49-F238E27FC236}">
                <a16:creationId xmlns:a16="http://schemas.microsoft.com/office/drawing/2014/main" id="{B3C9BE65-782D-46D1-AB1D-A5808CAD238D}"/>
              </a:ext>
            </a:extLst>
          </p:cNvPr>
          <p:cNvSpPr>
            <a:spLocks noGrp="1"/>
          </p:cNvSpPr>
          <p:nvPr>
            <p:ph type="body" sz="quarter" idx="10" hasCustomPrompt="1"/>
          </p:nvPr>
        </p:nvSpPr>
        <p:spPr>
          <a:xfrm>
            <a:off x="1494155" y="0"/>
            <a:ext cx="10230485" cy="386080"/>
          </a:xfrm>
          <a:prstGeom prst="rect">
            <a:avLst/>
          </a:prstGeom>
        </p:spPr>
        <p:txBody>
          <a:bodyPr anchor="ctr"/>
          <a:lstStyle>
            <a:lvl1pPr marL="0" indent="0">
              <a:buNone/>
              <a:defRPr sz="2400" b="1">
                <a:solidFill>
                  <a:srgbClr val="3869C1"/>
                </a:solidFill>
              </a:defRPr>
            </a:lvl1pPr>
          </a:lstStyle>
          <a:p>
            <a:pPr lvl="0"/>
            <a:r>
              <a:rPr lang="it-IT"/>
              <a:t>Titolo Slide</a:t>
            </a:r>
          </a:p>
        </p:txBody>
      </p:sp>
      <p:sp>
        <p:nvSpPr>
          <p:cNvPr id="6" name="Text Placeholder 3">
            <a:extLst>
              <a:ext uri="{FF2B5EF4-FFF2-40B4-BE49-F238E27FC236}">
                <a16:creationId xmlns:a16="http://schemas.microsoft.com/office/drawing/2014/main" id="{0AD868C9-104D-4E38-A9AB-962A1B18F4FF}"/>
              </a:ext>
            </a:extLst>
          </p:cNvPr>
          <p:cNvSpPr>
            <a:spLocks noGrp="1"/>
          </p:cNvSpPr>
          <p:nvPr>
            <p:ph type="body" sz="quarter" idx="11" hasCustomPrompt="1"/>
          </p:nvPr>
        </p:nvSpPr>
        <p:spPr>
          <a:xfrm>
            <a:off x="1494155" y="426720"/>
            <a:ext cx="10230485" cy="386080"/>
          </a:xfrm>
          <a:prstGeom prst="rect">
            <a:avLst/>
          </a:prstGeom>
        </p:spPr>
        <p:txBody>
          <a:bodyPr anchor="ctr"/>
          <a:lstStyle>
            <a:lvl1pPr marL="0" indent="0">
              <a:buNone/>
              <a:defRPr sz="1800" b="1">
                <a:solidFill>
                  <a:srgbClr val="D0D0D0"/>
                </a:solidFill>
              </a:defRPr>
            </a:lvl1pPr>
          </a:lstStyle>
          <a:p>
            <a:pPr lvl="0"/>
            <a:r>
              <a:rPr lang="it-IT"/>
              <a:t>Sottotitolo Slide</a:t>
            </a:r>
          </a:p>
        </p:txBody>
      </p:sp>
    </p:spTree>
    <p:extLst>
      <p:ext uri="{BB962C8B-B14F-4D97-AF65-F5344CB8AC3E}">
        <p14:creationId xmlns:p14="http://schemas.microsoft.com/office/powerpoint/2010/main" val="41641193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95C72-3F7D-D626-1DC6-CD3FA08F430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33B5F1-D65F-4A3C-2041-098DD1D7B21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599735E-4B74-4298-0EB7-9C626592B94B}"/>
              </a:ext>
            </a:extLst>
          </p:cNvPr>
          <p:cNvSpPr>
            <a:spLocks noGrp="1"/>
          </p:cNvSpPr>
          <p:nvPr>
            <p:ph type="dt" sz="half" idx="10"/>
          </p:nvPr>
        </p:nvSpPr>
        <p:spPr/>
        <p:txBody>
          <a:bodyPr/>
          <a:lstStyle/>
          <a:p>
            <a:fld id="{6B5F054E-9AA4-492D-BC3B-72E77B8AD0C0}" type="datetime1">
              <a:rPr lang="en-GB" smtClean="0"/>
              <a:t>22/10/2024</a:t>
            </a:fld>
            <a:endParaRPr lang="en-GB"/>
          </a:p>
        </p:txBody>
      </p:sp>
      <p:sp>
        <p:nvSpPr>
          <p:cNvPr id="5" name="Footer Placeholder 4">
            <a:extLst>
              <a:ext uri="{FF2B5EF4-FFF2-40B4-BE49-F238E27FC236}">
                <a16:creationId xmlns:a16="http://schemas.microsoft.com/office/drawing/2014/main" id="{FE243B7B-FEFD-472D-C0D4-3E26C8B821E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1765A9D-C3ED-8438-BCBB-4A6A6A4C8D34}"/>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936246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F0486-B455-6C2A-FF65-7E207150B3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748DE8-ED69-AD9C-FF89-FA72FDCCEF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D8FEBF-1094-5655-D321-DD89F6D1DE52}"/>
              </a:ext>
            </a:extLst>
          </p:cNvPr>
          <p:cNvSpPr>
            <a:spLocks noGrp="1"/>
          </p:cNvSpPr>
          <p:nvPr>
            <p:ph type="dt" sz="half" idx="10"/>
          </p:nvPr>
        </p:nvSpPr>
        <p:spPr/>
        <p:txBody>
          <a:bodyPr/>
          <a:lstStyle/>
          <a:p>
            <a:fld id="{6DA58795-C8B4-4102-892E-546C97CD1B0D}" type="datetime1">
              <a:rPr lang="en-GB" smtClean="0"/>
              <a:t>22/10/2024</a:t>
            </a:fld>
            <a:endParaRPr lang="en-GB"/>
          </a:p>
        </p:txBody>
      </p:sp>
      <p:sp>
        <p:nvSpPr>
          <p:cNvPr id="5" name="Footer Placeholder 4">
            <a:extLst>
              <a:ext uri="{FF2B5EF4-FFF2-40B4-BE49-F238E27FC236}">
                <a16:creationId xmlns:a16="http://schemas.microsoft.com/office/drawing/2014/main" id="{29FEC1F3-9F68-3965-4702-F14E050F1C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6C04AF7-C530-9F04-5B4F-25203473EA5F}"/>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1225567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857B0-E17F-2CCE-2B75-18E67E495F4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D80756C-B7C3-A751-FEB3-F2F1C31D619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DC9727E-81A9-E301-6E7A-2CD8A11882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F47283F-37C0-2808-B64B-99A9B32BA741}"/>
              </a:ext>
            </a:extLst>
          </p:cNvPr>
          <p:cNvSpPr>
            <a:spLocks noGrp="1"/>
          </p:cNvSpPr>
          <p:nvPr>
            <p:ph type="dt" sz="half" idx="10"/>
          </p:nvPr>
        </p:nvSpPr>
        <p:spPr/>
        <p:txBody>
          <a:bodyPr/>
          <a:lstStyle/>
          <a:p>
            <a:fld id="{1CD672E2-AE45-490F-8E73-846AD12DA649}" type="datetime1">
              <a:rPr lang="en-GB" smtClean="0"/>
              <a:t>22/10/2024</a:t>
            </a:fld>
            <a:endParaRPr lang="en-GB"/>
          </a:p>
        </p:txBody>
      </p:sp>
      <p:sp>
        <p:nvSpPr>
          <p:cNvPr id="6" name="Footer Placeholder 5">
            <a:extLst>
              <a:ext uri="{FF2B5EF4-FFF2-40B4-BE49-F238E27FC236}">
                <a16:creationId xmlns:a16="http://schemas.microsoft.com/office/drawing/2014/main" id="{C2883625-8FD5-C253-9204-E0F77247E67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1D6E094-FCDB-5DF4-858B-1A0590D6B8C7}"/>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993445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CF2FB-4F6B-C8C4-B7F6-09EF230DE1B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92A1CE7-007F-2127-1190-BC3A6EA2E03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08B2DD-FE06-C9EF-F4A4-F272D62BC7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79C1DE7-651B-14C8-C4CE-24036E7967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1F7D66-58AA-9ACA-2968-03FA66A8A3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D0975C6-5934-E36E-6882-9D5C04AF6F8A}"/>
              </a:ext>
            </a:extLst>
          </p:cNvPr>
          <p:cNvSpPr>
            <a:spLocks noGrp="1"/>
          </p:cNvSpPr>
          <p:nvPr>
            <p:ph type="dt" sz="half" idx="10"/>
          </p:nvPr>
        </p:nvSpPr>
        <p:spPr/>
        <p:txBody>
          <a:bodyPr/>
          <a:lstStyle/>
          <a:p>
            <a:fld id="{87FF97B8-E841-418C-8687-5E1143CD7F8C}" type="datetime1">
              <a:rPr lang="en-GB" smtClean="0"/>
              <a:t>22/10/2024</a:t>
            </a:fld>
            <a:endParaRPr lang="en-GB"/>
          </a:p>
        </p:txBody>
      </p:sp>
      <p:sp>
        <p:nvSpPr>
          <p:cNvPr id="8" name="Footer Placeholder 7">
            <a:extLst>
              <a:ext uri="{FF2B5EF4-FFF2-40B4-BE49-F238E27FC236}">
                <a16:creationId xmlns:a16="http://schemas.microsoft.com/office/drawing/2014/main" id="{08135B10-8A99-DB59-2510-FAC0D0342BC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4AFD664-464F-CFFA-EFE2-BA60E1FC3FF6}"/>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590050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7D253-D754-6587-3A65-7F8B70BC876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E8F7D76-A598-A669-6096-28516439601E}"/>
              </a:ext>
            </a:extLst>
          </p:cNvPr>
          <p:cNvSpPr>
            <a:spLocks noGrp="1"/>
          </p:cNvSpPr>
          <p:nvPr>
            <p:ph type="dt" sz="half" idx="10"/>
          </p:nvPr>
        </p:nvSpPr>
        <p:spPr/>
        <p:txBody>
          <a:bodyPr/>
          <a:lstStyle/>
          <a:p>
            <a:fld id="{5661EB03-453F-4199-93F2-14EE50C698DE}" type="datetime1">
              <a:rPr lang="en-GB" smtClean="0"/>
              <a:t>22/10/2024</a:t>
            </a:fld>
            <a:endParaRPr lang="en-GB"/>
          </a:p>
        </p:txBody>
      </p:sp>
      <p:sp>
        <p:nvSpPr>
          <p:cNvPr id="4" name="Footer Placeholder 3">
            <a:extLst>
              <a:ext uri="{FF2B5EF4-FFF2-40B4-BE49-F238E27FC236}">
                <a16:creationId xmlns:a16="http://schemas.microsoft.com/office/drawing/2014/main" id="{86D70E15-31CB-F9E7-739F-33B1C8AFFAB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4794C40-3FE5-F43E-BDBB-5ABA1CE9648A}"/>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707940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F1BA378-EB23-0674-CE1F-41D142F67203}"/>
              </a:ext>
            </a:extLst>
          </p:cNvPr>
          <p:cNvSpPr>
            <a:spLocks noGrp="1"/>
          </p:cNvSpPr>
          <p:nvPr>
            <p:ph type="dt" sz="half" idx="10"/>
          </p:nvPr>
        </p:nvSpPr>
        <p:spPr/>
        <p:txBody>
          <a:bodyPr/>
          <a:lstStyle/>
          <a:p>
            <a:fld id="{A49FD7C3-21EA-46E2-ADC4-1544E938DDDE}" type="datetime1">
              <a:rPr lang="en-GB" smtClean="0"/>
              <a:t>22/10/2024</a:t>
            </a:fld>
            <a:endParaRPr lang="en-GB"/>
          </a:p>
        </p:txBody>
      </p:sp>
      <p:sp>
        <p:nvSpPr>
          <p:cNvPr id="3" name="Footer Placeholder 2">
            <a:extLst>
              <a:ext uri="{FF2B5EF4-FFF2-40B4-BE49-F238E27FC236}">
                <a16:creationId xmlns:a16="http://schemas.microsoft.com/office/drawing/2014/main" id="{A5DDF5A3-B877-EFF0-18F2-0A55C9722C9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697731F-69A3-B576-21FE-2C09E719B778}"/>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1031705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1A134-DC3C-3028-134E-0A9777DB22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2251F0C-F51C-BB1F-F316-664957A6C0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F3534AE-494C-204A-3896-D524A042EA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7EF04F-9D4C-D418-2C85-45D42FC5118B}"/>
              </a:ext>
            </a:extLst>
          </p:cNvPr>
          <p:cNvSpPr>
            <a:spLocks noGrp="1"/>
          </p:cNvSpPr>
          <p:nvPr>
            <p:ph type="dt" sz="half" idx="10"/>
          </p:nvPr>
        </p:nvSpPr>
        <p:spPr/>
        <p:txBody>
          <a:bodyPr/>
          <a:lstStyle/>
          <a:p>
            <a:fld id="{0EB7327B-78AC-4CAE-8F3D-D1FF6E83335E}" type="datetime1">
              <a:rPr lang="en-GB" smtClean="0"/>
              <a:t>22/10/2024</a:t>
            </a:fld>
            <a:endParaRPr lang="en-GB"/>
          </a:p>
        </p:txBody>
      </p:sp>
      <p:sp>
        <p:nvSpPr>
          <p:cNvPr id="6" name="Footer Placeholder 5">
            <a:extLst>
              <a:ext uri="{FF2B5EF4-FFF2-40B4-BE49-F238E27FC236}">
                <a16:creationId xmlns:a16="http://schemas.microsoft.com/office/drawing/2014/main" id="{332EBEBE-36E2-4563-BFF9-38E53B10E5D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3D69127-A03B-EECD-7EB4-41254245407E}"/>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1776583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CFB86-BD5A-085C-7F05-A6E72CBD07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FDC91A4-B531-5952-5443-6678DA8B31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47F19E8-2357-CE14-711E-55473ECA24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2A2181-EA6B-43E1-5C91-F9E27D381C27}"/>
              </a:ext>
            </a:extLst>
          </p:cNvPr>
          <p:cNvSpPr>
            <a:spLocks noGrp="1"/>
          </p:cNvSpPr>
          <p:nvPr>
            <p:ph type="dt" sz="half" idx="10"/>
          </p:nvPr>
        </p:nvSpPr>
        <p:spPr/>
        <p:txBody>
          <a:bodyPr/>
          <a:lstStyle/>
          <a:p>
            <a:fld id="{559E60DC-CE7B-4D78-8000-4DDF39A87681}" type="datetime1">
              <a:rPr lang="en-GB" smtClean="0"/>
              <a:t>22/10/2024</a:t>
            </a:fld>
            <a:endParaRPr lang="en-GB"/>
          </a:p>
        </p:txBody>
      </p:sp>
      <p:sp>
        <p:nvSpPr>
          <p:cNvPr id="6" name="Footer Placeholder 5">
            <a:extLst>
              <a:ext uri="{FF2B5EF4-FFF2-40B4-BE49-F238E27FC236}">
                <a16:creationId xmlns:a16="http://schemas.microsoft.com/office/drawing/2014/main" id="{1C45295B-CEC4-2B9C-2B77-872AF4857B0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333B2C5-DA2F-7F13-E751-3ADEEDBB5F4A}"/>
              </a:ext>
            </a:extLst>
          </p:cNvPr>
          <p:cNvSpPr>
            <a:spLocks noGrp="1"/>
          </p:cNvSpPr>
          <p:nvPr>
            <p:ph type="sldNum" sz="quarter" idx="12"/>
          </p:nvPr>
        </p:nvSpPr>
        <p:spPr/>
        <p:txBody>
          <a:bodyPr/>
          <a:lstStyle/>
          <a:p>
            <a:fld id="{3AC94FBC-2F94-445B-A535-2F7BBCAA984B}" type="slidenum">
              <a:rPr lang="en-GB" smtClean="0"/>
              <a:t>‹N›</a:t>
            </a:fld>
            <a:endParaRPr lang="en-GB"/>
          </a:p>
        </p:txBody>
      </p:sp>
    </p:spTree>
    <p:extLst>
      <p:ext uri="{BB962C8B-B14F-4D97-AF65-F5344CB8AC3E}">
        <p14:creationId xmlns:p14="http://schemas.microsoft.com/office/powerpoint/2010/main" val="1133053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CF84FEB-BAFF-4880-8BDA-CD0C56B40EDA}"/>
              </a:ext>
            </a:extLst>
          </p:cNvPr>
          <p:cNvGraphicFramePr>
            <a:graphicFrameLocks noChangeAspect="1"/>
          </p:cNvGraphicFramePr>
          <p:nvPr userDrawn="1">
            <p:custDataLst>
              <p:tags r:id="rId14"/>
            </p:custDataLst>
            <p:extLst>
              <p:ext uri="{D42A27DB-BD31-4B8C-83A1-F6EECF244321}">
                <p14:modId xmlns:p14="http://schemas.microsoft.com/office/powerpoint/2010/main" val="2407163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1" imgH="272" progId="TCLayout.ActiveDocument.1">
                  <p:embed/>
                </p:oleObj>
              </mc:Choice>
              <mc:Fallback>
                <p:oleObj name="think-cell Slide" r:id="rId15" imgW="271" imgH="272" progId="TCLayout.ActiveDocument.1">
                  <p:embed/>
                  <p:pic>
                    <p:nvPicPr>
                      <p:cNvPr id="8" name="Object 7" hidden="1">
                        <a:extLst>
                          <a:ext uri="{FF2B5EF4-FFF2-40B4-BE49-F238E27FC236}">
                            <a16:creationId xmlns:a16="http://schemas.microsoft.com/office/drawing/2014/main" id="{3CF84FEB-BAFF-4880-8BDA-CD0C56B40ED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DE7462F-C40C-30CA-4461-59AC965AF5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6353BBD-2C0A-F609-644C-928E493AAF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4088CE-A79A-6F34-31FA-4C2D4D0574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5C71C9-F961-4C09-98B9-213E3678D3C9}" type="datetime1">
              <a:rPr lang="en-GB" smtClean="0"/>
              <a:t>22/10/2024</a:t>
            </a:fld>
            <a:endParaRPr lang="en-GB"/>
          </a:p>
        </p:txBody>
      </p:sp>
      <p:sp>
        <p:nvSpPr>
          <p:cNvPr id="5" name="Footer Placeholder 4">
            <a:extLst>
              <a:ext uri="{FF2B5EF4-FFF2-40B4-BE49-F238E27FC236}">
                <a16:creationId xmlns:a16="http://schemas.microsoft.com/office/drawing/2014/main" id="{1BC1A276-EF26-A01C-1219-FC5780F736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2C6038B-825C-6279-BB3A-0177A2CB8F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C94FBC-2F94-445B-A535-2F7BBCAA984B}" type="slidenum">
              <a:rPr lang="en-GB" smtClean="0"/>
              <a:t>‹N›</a:t>
            </a:fld>
            <a:endParaRPr lang="en-GB"/>
          </a:p>
        </p:txBody>
      </p:sp>
    </p:spTree>
    <p:extLst>
      <p:ext uri="{BB962C8B-B14F-4D97-AF65-F5344CB8AC3E}">
        <p14:creationId xmlns:p14="http://schemas.microsoft.com/office/powerpoint/2010/main" val="5388915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15.bin"/><Relationship Id="rId7" Type="http://schemas.openxmlformats.org/officeDocument/2006/relationships/image" Target="../media/image15.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3.png"/><Relationship Id="rId10" Type="http://schemas.openxmlformats.org/officeDocument/2006/relationships/image" Target="../media/image18.png"/><Relationship Id="rId4" Type="http://schemas.openxmlformats.org/officeDocument/2006/relationships/image" Target="../media/image1.emf"/><Relationship Id="rId9" Type="http://schemas.openxmlformats.org/officeDocument/2006/relationships/image" Target="../media/image17.sv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17.bin"/><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3.png"/><Relationship Id="rId5" Type="http://schemas.openxmlformats.org/officeDocument/2006/relationships/image" Target="../media/image20.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3.png"/><Relationship Id="rId5" Type="http://schemas.openxmlformats.org/officeDocument/2006/relationships/image" Target="../media/image3.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oleObject" Target="../embeddings/oleObject20.bin"/><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slideLayout" Target="../slideLayouts/slideLayout2.xml"/><Relationship Id="rId16" Type="http://schemas.openxmlformats.org/officeDocument/2006/relationships/image" Target="../media/image34.png"/><Relationship Id="rId1" Type="http://schemas.openxmlformats.org/officeDocument/2006/relationships/tags" Target="../tags/tag2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3.png"/><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image" Target="../media/image1.emf"/><Relationship Id="rId9" Type="http://schemas.openxmlformats.org/officeDocument/2006/relationships/image" Target="../media/image27.svg"/><Relationship Id="rId14"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oleObject" Target="../embeddings/oleObject21.bin"/><Relationship Id="rId7" Type="http://schemas.openxmlformats.org/officeDocument/2006/relationships/image" Target="../media/image37.svg"/><Relationship Id="rId12"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png"/><Relationship Id="rId10" Type="http://schemas.openxmlformats.org/officeDocument/2006/relationships/image" Target="../media/image40.png"/><Relationship Id="rId4" Type="http://schemas.openxmlformats.org/officeDocument/2006/relationships/image" Target="../media/image1.emf"/><Relationship Id="rId9" Type="http://schemas.openxmlformats.org/officeDocument/2006/relationships/image" Target="../media/image39.sv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46.png"/><Relationship Id="rId3" Type="http://schemas.openxmlformats.org/officeDocument/2006/relationships/tags" Target="../tags/tag26.xml"/><Relationship Id="rId7" Type="http://schemas.openxmlformats.org/officeDocument/2006/relationships/slideLayout" Target="../slideLayouts/slideLayout2.xml"/><Relationship Id="rId12" Type="http://schemas.openxmlformats.org/officeDocument/2006/relationships/image" Target="../media/image45.png"/><Relationship Id="rId17" Type="http://schemas.openxmlformats.org/officeDocument/2006/relationships/image" Target="../media/image50.jpeg"/><Relationship Id="rId2" Type="http://schemas.openxmlformats.org/officeDocument/2006/relationships/tags" Target="../tags/tag25.xml"/><Relationship Id="rId16" Type="http://schemas.openxmlformats.org/officeDocument/2006/relationships/image" Target="../media/image49.pn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44.png"/><Relationship Id="rId5" Type="http://schemas.openxmlformats.org/officeDocument/2006/relationships/tags" Target="../tags/tag28.xml"/><Relationship Id="rId15" Type="http://schemas.openxmlformats.org/officeDocument/2006/relationships/image" Target="../media/image48.png"/><Relationship Id="rId10" Type="http://schemas.openxmlformats.org/officeDocument/2006/relationships/image" Target="../media/image3.png"/><Relationship Id="rId4" Type="http://schemas.openxmlformats.org/officeDocument/2006/relationships/tags" Target="../tags/tag27.xml"/><Relationship Id="rId9" Type="http://schemas.openxmlformats.org/officeDocument/2006/relationships/image" Target="../media/image1.emf"/><Relationship Id="rId14" Type="http://schemas.openxmlformats.org/officeDocument/2006/relationships/image" Target="../media/image47.png"/></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23.bin"/><Relationship Id="rId7" Type="http://schemas.openxmlformats.org/officeDocument/2006/relationships/image" Target="../media/image52.sv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51.png"/><Relationship Id="rId11" Type="http://schemas.openxmlformats.org/officeDocument/2006/relationships/image" Target="../media/image39.svg"/><Relationship Id="rId5" Type="http://schemas.openxmlformats.org/officeDocument/2006/relationships/image" Target="../media/image3.png"/><Relationship Id="rId10" Type="http://schemas.openxmlformats.org/officeDocument/2006/relationships/image" Target="../media/image38.png"/><Relationship Id="rId4" Type="http://schemas.openxmlformats.org/officeDocument/2006/relationships/image" Target="../media/image1.emf"/><Relationship Id="rId9" Type="http://schemas.openxmlformats.org/officeDocument/2006/relationships/image" Target="../media/image37.sv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3.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3.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6.bin"/><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D6B92E-EA63-4D11-8000-FED1372FA6F0}"/>
              </a:ext>
            </a:extLst>
          </p:cNvPr>
          <p:cNvGraphicFramePr>
            <a:graphicFrameLocks noChangeAspect="1"/>
          </p:cNvGraphicFramePr>
          <p:nvPr>
            <p:custDataLst>
              <p:tags r:id="rId1"/>
            </p:custDataLst>
            <p:extLst>
              <p:ext uri="{D42A27DB-BD31-4B8C-83A1-F6EECF244321}">
                <p14:modId xmlns:p14="http://schemas.microsoft.com/office/powerpoint/2010/main" val="473980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7D6B92E-EA63-4D11-8000-FED1372FA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object 24"/>
          <p:cNvSpPr txBox="1">
            <a:spLocks noGrp="1"/>
          </p:cNvSpPr>
          <p:nvPr>
            <p:ph type="title"/>
          </p:nvPr>
        </p:nvSpPr>
        <p:spPr>
          <a:xfrm>
            <a:off x="514349" y="385451"/>
            <a:ext cx="11147297" cy="997068"/>
          </a:xfrm>
          <a:prstGeom prst="rect">
            <a:avLst/>
          </a:prstGeom>
        </p:spPr>
        <p:txBody>
          <a:bodyPr vert="horz" wrap="square" lIns="0" tIns="12065" rIns="0" bIns="0" rtlCol="0">
            <a:spAutoFit/>
          </a:bodyPr>
          <a:lstStyle/>
          <a:p>
            <a:pPr marL="12700">
              <a:lnSpc>
                <a:spcPct val="100000"/>
              </a:lnSpc>
              <a:spcBef>
                <a:spcPts val="95"/>
              </a:spcBef>
            </a:pPr>
            <a:r>
              <a:rPr sz="2400" b="1" spc="-5" dirty="0">
                <a:solidFill>
                  <a:srgbClr val="0F4577"/>
                </a:solidFill>
                <a:latin typeface="Calibri"/>
                <a:cs typeface="Calibri"/>
              </a:rPr>
              <a:t>Luiss</a:t>
            </a:r>
            <a:r>
              <a:rPr lang="it-IT" sz="2400" b="1" spc="-5" dirty="0">
                <a:solidFill>
                  <a:srgbClr val="0F4577"/>
                </a:solidFill>
                <a:latin typeface="Calibri"/>
                <a:cs typeface="Calibri"/>
              </a:rPr>
              <a:t> Guido Carli</a:t>
            </a:r>
            <a:endParaRPr sz="2400" dirty="0">
              <a:solidFill>
                <a:srgbClr val="0F4577"/>
              </a:solidFill>
              <a:latin typeface="Calibri"/>
              <a:cs typeface="Calibri"/>
            </a:endParaRPr>
          </a:p>
          <a:p>
            <a:pPr marL="15875">
              <a:lnSpc>
                <a:spcPct val="100000"/>
              </a:lnSpc>
            </a:pPr>
            <a:r>
              <a:rPr lang="it-IT" sz="2000" spc="-10" dirty="0">
                <a:solidFill>
                  <a:srgbClr val="0F4577"/>
                </a:solidFill>
              </a:rPr>
              <a:t>Department of Data Science and Management						</a:t>
            </a:r>
            <a:br>
              <a:rPr lang="it-IT" sz="2000" spc="-10" dirty="0">
                <a:solidFill>
                  <a:srgbClr val="0F4577"/>
                </a:solidFill>
              </a:rPr>
            </a:br>
            <a:r>
              <a:rPr lang="it-IT" sz="1800" i="1" spc="-5" dirty="0">
                <a:solidFill>
                  <a:srgbClr val="0F4577"/>
                </a:solidFill>
              </a:rPr>
              <a:t>Course of Machine Learning</a:t>
            </a:r>
            <a:r>
              <a:rPr lang="it-IT" sz="1800" spc="-5" dirty="0">
                <a:solidFill>
                  <a:srgbClr val="0F4577"/>
                </a:solidFill>
              </a:rPr>
              <a:t>	</a:t>
            </a:r>
            <a:r>
              <a:rPr lang="it-IT" sz="2000" spc="-5" dirty="0">
                <a:solidFill>
                  <a:srgbClr val="0F4577"/>
                </a:solidFill>
              </a:rPr>
              <a:t>				</a:t>
            </a:r>
            <a:endParaRPr sz="2000" dirty="0">
              <a:solidFill>
                <a:srgbClr val="0F4577"/>
              </a:solidFill>
            </a:endParaRPr>
          </a:p>
        </p:txBody>
      </p:sp>
      <p:sp>
        <p:nvSpPr>
          <p:cNvPr id="25" name="object 25"/>
          <p:cNvSpPr txBox="1"/>
          <p:nvPr/>
        </p:nvSpPr>
        <p:spPr>
          <a:xfrm>
            <a:off x="483489" y="2118882"/>
            <a:ext cx="11209593" cy="1107354"/>
          </a:xfrm>
          <a:prstGeom prst="rect">
            <a:avLst/>
          </a:prstGeom>
        </p:spPr>
        <p:txBody>
          <a:bodyPr vert="horz" wrap="square" lIns="0" tIns="78105" rIns="0" bIns="0" rtlCol="0">
            <a:spAutoFit/>
          </a:bodyPr>
          <a:lstStyle/>
          <a:p>
            <a:pPr marL="20320" marR="5080" algn="just">
              <a:lnSpc>
                <a:spcPts val="4100"/>
              </a:lnSpc>
              <a:spcBef>
                <a:spcPts val="615"/>
              </a:spcBef>
            </a:pPr>
            <a:r>
              <a:rPr lang="en-US" sz="3200" b="1" spc="-20" dirty="0">
                <a:solidFill>
                  <a:srgbClr val="00396F"/>
                </a:solidFill>
                <a:latin typeface="Calibri"/>
                <a:cs typeface="Calibri"/>
              </a:rPr>
              <a:t>Interpretation of human emotions through multimodal data: a Dual-Encoder transformer approach</a:t>
            </a:r>
            <a:endParaRPr lang="en-US" sz="3800" dirty="0">
              <a:latin typeface="Calibri"/>
              <a:cs typeface="Calibri"/>
            </a:endParaRPr>
          </a:p>
        </p:txBody>
      </p:sp>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263220F2-82B5-7227-48C6-F8167D2B0EB6}"/>
              </a:ext>
            </a:extLst>
          </p:cNvPr>
          <p:cNvSpPr txBox="1"/>
          <p:nvPr/>
        </p:nvSpPr>
        <p:spPr>
          <a:xfrm>
            <a:off x="483488" y="4526400"/>
            <a:ext cx="11209593" cy="1661993"/>
          </a:xfrm>
          <a:prstGeom prst="rect">
            <a:avLst/>
          </a:prstGeom>
          <a:noFill/>
        </p:spPr>
        <p:txBody>
          <a:bodyPr wrap="square">
            <a:spAutoFit/>
          </a:bodyPr>
          <a:lstStyle/>
          <a:p>
            <a:pPr marL="12700">
              <a:lnSpc>
                <a:spcPct val="100000"/>
              </a:lnSpc>
              <a:spcBef>
                <a:spcPts val="1200"/>
              </a:spcBef>
            </a:pPr>
            <a:r>
              <a:rPr lang="it-IT" sz="1800" b="1" spc="-35" dirty="0">
                <a:solidFill>
                  <a:srgbClr val="00396F"/>
                </a:solidFill>
                <a:latin typeface="Calibri"/>
                <a:cs typeface="Calibri"/>
              </a:rPr>
              <a:t>Supervisor</a:t>
            </a:r>
            <a:r>
              <a:rPr lang="it-IT" sz="1800" spc="-35" dirty="0">
                <a:solidFill>
                  <a:srgbClr val="00396F"/>
                </a:solidFill>
                <a:latin typeface="Calibri"/>
                <a:cs typeface="Calibri"/>
              </a:rPr>
              <a:t>: Prof. </a:t>
            </a:r>
            <a:r>
              <a:rPr lang="it-IT" spc="-35" dirty="0">
                <a:solidFill>
                  <a:srgbClr val="00396F"/>
                </a:solidFill>
                <a:latin typeface="Calibri"/>
                <a:cs typeface="Calibri"/>
              </a:rPr>
              <a:t>Giuseppe Italiano</a:t>
            </a:r>
            <a:endParaRPr lang="it-IT" sz="1800" spc="-35" dirty="0">
              <a:solidFill>
                <a:srgbClr val="00396F"/>
              </a:solidFill>
              <a:latin typeface="Calibri"/>
              <a:cs typeface="Calibri"/>
            </a:endParaRPr>
          </a:p>
          <a:p>
            <a:pPr marL="12700">
              <a:lnSpc>
                <a:spcPct val="100000"/>
              </a:lnSpc>
              <a:spcBef>
                <a:spcPts val="1200"/>
              </a:spcBef>
            </a:pPr>
            <a:r>
              <a:rPr lang="it-IT" b="1" spc="-35" dirty="0">
                <a:solidFill>
                  <a:srgbClr val="00396F"/>
                </a:solidFill>
                <a:highlight>
                  <a:srgbClr val="FFFF00"/>
                </a:highlight>
                <a:latin typeface="Calibri"/>
                <a:cs typeface="Calibri"/>
              </a:rPr>
              <a:t>Co-Supervisor</a:t>
            </a:r>
            <a:r>
              <a:rPr lang="it-IT" spc="-35" dirty="0">
                <a:solidFill>
                  <a:srgbClr val="00396F"/>
                </a:solidFill>
                <a:highlight>
                  <a:srgbClr val="FFFF00"/>
                </a:highlight>
                <a:latin typeface="Calibri"/>
                <a:cs typeface="Calibri"/>
              </a:rPr>
              <a:t>: Prof. </a:t>
            </a:r>
          </a:p>
          <a:p>
            <a:pPr marL="12700">
              <a:lnSpc>
                <a:spcPct val="100000"/>
              </a:lnSpc>
              <a:spcBef>
                <a:spcPts val="1200"/>
              </a:spcBef>
            </a:pPr>
            <a:r>
              <a:rPr lang="it-IT" sz="1800" b="1" spc="-35" dirty="0">
                <a:solidFill>
                  <a:srgbClr val="00396F"/>
                </a:solidFill>
                <a:latin typeface="Calibri"/>
                <a:cs typeface="Calibri"/>
              </a:rPr>
              <a:t>Candidate</a:t>
            </a:r>
            <a:r>
              <a:rPr lang="it-IT" sz="1800" spc="-35" dirty="0">
                <a:solidFill>
                  <a:srgbClr val="00396F"/>
                </a:solidFill>
                <a:latin typeface="Calibri"/>
                <a:cs typeface="Calibri"/>
              </a:rPr>
              <a:t>: Silvia Conti</a:t>
            </a:r>
            <a:r>
              <a:rPr lang="it-IT" spc="-35" dirty="0">
                <a:solidFill>
                  <a:srgbClr val="00396F"/>
                </a:solidFill>
                <a:latin typeface="Calibri"/>
                <a:cs typeface="Calibri"/>
              </a:rPr>
              <a:t>	</a:t>
            </a:r>
          </a:p>
          <a:p>
            <a:pPr marL="12700">
              <a:lnSpc>
                <a:spcPct val="100000"/>
              </a:lnSpc>
              <a:spcBef>
                <a:spcPts val="1200"/>
              </a:spcBef>
            </a:pPr>
            <a:r>
              <a:rPr lang="it-IT" b="1" spc="-35" dirty="0">
                <a:solidFill>
                  <a:srgbClr val="00396F"/>
                </a:solidFill>
                <a:latin typeface="Calibri"/>
                <a:cs typeface="Calibri"/>
              </a:rPr>
              <a:t>ID</a:t>
            </a:r>
            <a:r>
              <a:rPr lang="it-IT" spc="-35" dirty="0">
                <a:solidFill>
                  <a:srgbClr val="00396F"/>
                </a:solidFill>
                <a:latin typeface="Calibri"/>
                <a:cs typeface="Calibri"/>
              </a:rPr>
              <a:t>: 759801                                                                                                                                                                                  </a:t>
            </a:r>
            <a:endParaRPr lang="it-IT" sz="1800" dirty="0">
              <a:latin typeface="Calibri"/>
              <a:cs typeface="Calibri"/>
            </a:endParaRPr>
          </a:p>
        </p:txBody>
      </p:sp>
      <p:sp>
        <p:nvSpPr>
          <p:cNvPr id="29" name="Rectangle: Rounded Corners 28">
            <a:extLst>
              <a:ext uri="{FF2B5EF4-FFF2-40B4-BE49-F238E27FC236}">
                <a16:creationId xmlns:a16="http://schemas.microsoft.com/office/drawing/2014/main" id="{14D9B1F8-78D9-DAF3-C08C-7D76D11CEAB3}"/>
              </a:ext>
            </a:extLst>
          </p:cNvPr>
          <p:cNvSpPr/>
          <p:nvPr/>
        </p:nvSpPr>
        <p:spPr>
          <a:xfrm>
            <a:off x="498918" y="4112889"/>
            <a:ext cx="11178157" cy="45719"/>
          </a:xfrm>
          <a:prstGeom prst="roundRect">
            <a:avLst/>
          </a:prstGeom>
          <a:solidFill>
            <a:srgbClr val="00396F"/>
          </a:solidFill>
          <a:ln>
            <a:solidFill>
              <a:srgbClr val="0039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Slide Number Placeholder 6">
            <a:extLst>
              <a:ext uri="{FF2B5EF4-FFF2-40B4-BE49-F238E27FC236}">
                <a16:creationId xmlns:a16="http://schemas.microsoft.com/office/drawing/2014/main" id="{1FEDE37A-BF21-9F82-9647-379C33EA7C1C}"/>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a:t>
            </a:fld>
            <a:endParaRPr lang="en-GB" dirty="0">
              <a:solidFill>
                <a:srgbClr val="00396F"/>
              </a:solidFill>
              <a:latin typeface="Abadi" panose="020B0604020104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4D824-6C3F-1A22-7BB5-E243A16ED26F}"/>
            </a:ext>
          </a:extLst>
        </p:cNvPr>
        <p:cNvGrpSpPr/>
        <p:nvPr/>
      </p:nvGrpSpPr>
      <p:grpSpPr>
        <a:xfrm>
          <a:off x="0" y="0"/>
          <a:ext cx="0" cy="0"/>
          <a:chOff x="0" y="0"/>
          <a:chExt cx="0" cy="0"/>
        </a:xfrm>
      </p:grpSpPr>
      <p:sp>
        <p:nvSpPr>
          <p:cNvPr id="10" name="Rettangolo con angoli arrotondati 9">
            <a:extLst>
              <a:ext uri="{FF2B5EF4-FFF2-40B4-BE49-F238E27FC236}">
                <a16:creationId xmlns:a16="http://schemas.microsoft.com/office/drawing/2014/main" id="{CD9436A5-80B0-0270-1CBF-0745BA8B4959}"/>
              </a:ext>
            </a:extLst>
          </p:cNvPr>
          <p:cNvSpPr/>
          <p:nvPr/>
        </p:nvSpPr>
        <p:spPr>
          <a:xfrm>
            <a:off x="783166" y="1323449"/>
            <a:ext cx="10799234" cy="3157477"/>
          </a:xfrm>
          <a:prstGeom prst="roundRect">
            <a:avLst/>
          </a:prstGeom>
          <a:solidFill>
            <a:schemeClr val="accent3">
              <a:lumMod val="10000"/>
              <a:lumOff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tIns="54000" rIns="360000" bIns="36000" rtlCol="0" anchor="ctr" anchorCtr="0"/>
          <a:lstStyle/>
          <a:p>
            <a:r>
              <a:rPr lang="it-IT" sz="1600" dirty="0">
                <a:solidFill>
                  <a:srgbClr val="00396F"/>
                </a:solidFill>
              </a:rPr>
              <a:t>Questa ricerca ha contribuito a migliorare la comprensione delle emozioni in contesti multimodali, dove il significato deriva dall'integrazione di testo e immagini. Ha superato i limiti delle tecniche tradizionali di sentiment </a:t>
            </a:r>
            <a:r>
              <a:rPr lang="it-IT" sz="1600" dirty="0" err="1">
                <a:solidFill>
                  <a:srgbClr val="00396F"/>
                </a:solidFill>
              </a:rPr>
              <a:t>analysis</a:t>
            </a:r>
            <a:r>
              <a:rPr lang="it-IT" sz="1600" dirty="0">
                <a:solidFill>
                  <a:srgbClr val="00396F"/>
                </a:solidFill>
              </a:rPr>
              <a:t>, che si concentrano esclusivamente sui dati testuali, proponendo un approccio capace di cogliere il contesto visivo e migliorare l'accuratezza delle previsioni emotive.</a:t>
            </a:r>
          </a:p>
          <a:p>
            <a:br>
              <a:rPr lang="it-IT" sz="1600" dirty="0">
                <a:solidFill>
                  <a:srgbClr val="00396F"/>
                </a:solidFill>
              </a:rPr>
            </a:br>
            <a:r>
              <a:rPr lang="it-IT" sz="1600" dirty="0">
                <a:solidFill>
                  <a:srgbClr val="00396F"/>
                </a:solidFill>
              </a:rPr>
              <a:t>I risultati di questo lavoro aprono la strada a potenziali applicazioni in diversi settori. Tra le principali, spiccano l'analisi delle recensioni, dove le emozioni degli utenti possono essere meglio interpretate, e il marketing, dove una comprensione più profonda delle emozioni può informare strategie più efficaci. Questo approccio potrebbe inoltre essere applicato ai social media, dove il contenuto multimodale è sempre più diffuso.</a:t>
            </a:r>
          </a:p>
          <a:p>
            <a:pPr algn="ctr">
              <a:lnSpc>
                <a:spcPct val="120000"/>
              </a:lnSpc>
            </a:pPr>
            <a:endParaRPr lang="it-IT" sz="1600" b="1" i="1" dirty="0">
              <a:solidFill>
                <a:srgbClr val="00396F"/>
              </a:solidFill>
            </a:endParaRPr>
          </a:p>
        </p:txBody>
      </p:sp>
      <p:graphicFrame>
        <p:nvGraphicFramePr>
          <p:cNvPr id="2" name="Object 1" hidden="1">
            <a:extLst>
              <a:ext uri="{FF2B5EF4-FFF2-40B4-BE49-F238E27FC236}">
                <a16:creationId xmlns:a16="http://schemas.microsoft.com/office/drawing/2014/main" id="{09F12382-4593-D3C9-38C3-E5321A34FC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09F12382-4593-D3C9-38C3-E5321A34FC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F479AFC6-224F-F037-045F-D8B09C6D82CB}"/>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6FA9D948-B7ED-E6E1-F49D-1047D72771FB}"/>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0</a:t>
            </a:fld>
            <a:endParaRPr lang="en-GB" dirty="0">
              <a:solidFill>
                <a:srgbClr val="00396F"/>
              </a:solidFill>
              <a:latin typeface="Abadi" panose="020B0604020104020204" pitchFamily="34" charset="0"/>
            </a:endParaRPr>
          </a:p>
        </p:txBody>
      </p:sp>
      <p:sp>
        <p:nvSpPr>
          <p:cNvPr id="4" name="Title 2">
            <a:extLst>
              <a:ext uri="{FF2B5EF4-FFF2-40B4-BE49-F238E27FC236}">
                <a16:creationId xmlns:a16="http://schemas.microsoft.com/office/drawing/2014/main" id="{48DA9439-CBB8-A923-427F-6704DE2F6709}"/>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00396F"/>
                </a:solidFill>
              </a:rPr>
              <a:t>Conclusions</a:t>
            </a:r>
            <a:endParaRPr lang="it-IT" sz="3200" dirty="0">
              <a:solidFill>
                <a:srgbClr val="00396F"/>
              </a:solidFill>
            </a:endParaRPr>
          </a:p>
        </p:txBody>
      </p:sp>
    </p:spTree>
    <p:extLst>
      <p:ext uri="{BB962C8B-B14F-4D97-AF65-F5344CB8AC3E}">
        <p14:creationId xmlns:p14="http://schemas.microsoft.com/office/powerpoint/2010/main" val="4024639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D4A03-03E5-40F6-7159-C1EEBACB0C0D}"/>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F2FB92-F5D8-35DE-923E-2C60E2AE59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7F2FB92-F5D8-35DE-923E-2C60E2AE5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974EE529-17B4-1D64-F4BB-11806908C88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E670F2EE-0F99-9431-B1C9-3C80F95FA4F2}"/>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1</a:t>
            </a:fld>
            <a:endParaRPr lang="en-GB" dirty="0">
              <a:solidFill>
                <a:srgbClr val="00396F"/>
              </a:solidFill>
              <a:latin typeface="Abadi" panose="020B0604020104020204" pitchFamily="34" charset="0"/>
            </a:endParaRPr>
          </a:p>
        </p:txBody>
      </p:sp>
      <p:sp>
        <p:nvSpPr>
          <p:cNvPr id="5" name="CasellaDiTesto 4">
            <a:extLst>
              <a:ext uri="{FF2B5EF4-FFF2-40B4-BE49-F238E27FC236}">
                <a16:creationId xmlns:a16="http://schemas.microsoft.com/office/drawing/2014/main" id="{F73F9C70-10E6-99D1-7551-2974EEDD05D5}"/>
              </a:ext>
            </a:extLst>
          </p:cNvPr>
          <p:cNvSpPr txBox="1"/>
          <p:nvPr/>
        </p:nvSpPr>
        <p:spPr>
          <a:xfrm>
            <a:off x="598218" y="2730315"/>
            <a:ext cx="6099716" cy="3416320"/>
          </a:xfrm>
          <a:prstGeom prst="rect">
            <a:avLst/>
          </a:prstGeom>
          <a:noFill/>
        </p:spPr>
        <p:txBody>
          <a:bodyPr wrap="square">
            <a:spAutoFit/>
          </a:bodyPr>
          <a:lstStyle/>
          <a:p>
            <a:pPr>
              <a:buFont typeface="Arial" panose="020B0604020202020204" pitchFamily="34" charset="0"/>
              <a:buChar char="•"/>
            </a:pPr>
            <a:r>
              <a:rPr lang="it-IT" dirty="0"/>
              <a:t>Provato a inizializzare il modello DTCA con le rappresentazioni </a:t>
            </a:r>
            <a:r>
              <a:rPr lang="it-IT" dirty="0" err="1"/>
              <a:t>pre</a:t>
            </a:r>
            <a:r>
              <a:rPr lang="it-IT" dirty="0"/>
              <a:t>-addestrate di CLIP per il testo e le immagini perché potrebbe partire da una base più forte, sfruttando le competenze multimodali già acquisite da CLIP.</a:t>
            </a:r>
          </a:p>
          <a:p>
            <a:pPr>
              <a:buFont typeface="Arial" panose="020B0604020202020204" pitchFamily="34" charset="0"/>
              <a:buChar char="•"/>
            </a:pPr>
            <a:r>
              <a:rPr lang="it-IT" dirty="0"/>
              <a:t>CLIP (Contrastive Language-Image </a:t>
            </a:r>
            <a:r>
              <a:rPr lang="it-IT" dirty="0" err="1"/>
              <a:t>Pretraining</a:t>
            </a:r>
            <a:r>
              <a:rPr lang="it-IT" dirty="0"/>
              <a:t>) è un modello potente che allinea testo e immagini utilizzando un approccio contrastivo.</a:t>
            </a:r>
          </a:p>
          <a:p>
            <a:pPr>
              <a:buFont typeface="Arial" panose="020B0604020202020204" pitchFamily="34" charset="0"/>
              <a:buChar char="•"/>
            </a:pPr>
            <a:r>
              <a:rPr lang="it-IT" dirty="0"/>
              <a:t>CLIP, infatti, è già in grado di gestire in modo efficiente la corrispondenza tra immagini e descrizioni testuali, il che potrebbe ridurre i tempi di addestramento e migliorare le prestazioni del modello per il task MABSA.</a:t>
            </a:r>
          </a:p>
          <a:p>
            <a:pPr>
              <a:buFont typeface="Arial" panose="020B0604020202020204" pitchFamily="34" charset="0"/>
              <a:buChar char="•"/>
            </a:pPr>
            <a:r>
              <a:rPr lang="it-IT" dirty="0"/>
              <a:t>Non ha funzionato </a:t>
            </a:r>
          </a:p>
        </p:txBody>
      </p:sp>
      <p:sp>
        <p:nvSpPr>
          <p:cNvPr id="4" name="Title 2">
            <a:extLst>
              <a:ext uri="{FF2B5EF4-FFF2-40B4-BE49-F238E27FC236}">
                <a16:creationId xmlns:a16="http://schemas.microsoft.com/office/drawing/2014/main" id="{86D61347-C5FF-B872-10AB-74CBE5B3246F}"/>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00396F"/>
                </a:solidFill>
              </a:rPr>
              <a:t>Experiments (1/2)</a:t>
            </a:r>
            <a:endParaRPr lang="it-IT" sz="3200" dirty="0">
              <a:solidFill>
                <a:srgbClr val="00396F"/>
              </a:solidFill>
            </a:endParaRPr>
          </a:p>
        </p:txBody>
      </p:sp>
      <p:sp>
        <p:nvSpPr>
          <p:cNvPr id="14" name="Arrow: Right 10">
            <a:extLst>
              <a:ext uri="{FF2B5EF4-FFF2-40B4-BE49-F238E27FC236}">
                <a16:creationId xmlns:a16="http://schemas.microsoft.com/office/drawing/2014/main" id="{0519B268-C58B-F781-4B42-6C4E7724947A}"/>
              </a:ext>
            </a:extLst>
          </p:cNvPr>
          <p:cNvSpPr/>
          <p:nvPr/>
        </p:nvSpPr>
        <p:spPr>
          <a:xfrm>
            <a:off x="3090158" y="1543284"/>
            <a:ext cx="557918" cy="422208"/>
          </a:xfrm>
          <a:prstGeom prst="rightArrow">
            <a:avLst/>
          </a:prstGeom>
          <a:gradFill>
            <a:gsLst>
              <a:gs pos="0">
                <a:srgbClr val="ACEAFF"/>
              </a:gs>
              <a:gs pos="100000">
                <a:srgbClr val="00B8F5"/>
              </a:gs>
            </a:gsLst>
            <a:lin ang="0" scaled="0"/>
          </a:gra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7" name="Rectangle 8">
            <a:extLst>
              <a:ext uri="{FF2B5EF4-FFF2-40B4-BE49-F238E27FC236}">
                <a16:creationId xmlns:a16="http://schemas.microsoft.com/office/drawing/2014/main" id="{BB3AAE56-9349-9FBA-7C52-DD2103A39B2A}"/>
              </a:ext>
            </a:extLst>
          </p:cNvPr>
          <p:cNvSpPr/>
          <p:nvPr/>
        </p:nvSpPr>
        <p:spPr>
          <a:xfrm>
            <a:off x="998399" y="1330325"/>
            <a:ext cx="2016000" cy="864000"/>
          </a:xfrm>
          <a:prstGeom prst="rect">
            <a:avLst/>
          </a:prstGeom>
          <a:solidFill>
            <a:srgbClr val="1E49E2"/>
          </a:solidFill>
          <a:ln w="12700" cap="flat" cmpd="sng" algn="ctr">
            <a:noFill/>
            <a:prstDash val="solid"/>
            <a:miter lim="800000"/>
          </a:ln>
          <a:effectLst/>
        </p:spPr>
        <p:txBody>
          <a:bodyPr lIns="180000" tIns="180000" rIns="180000" bIns="180000" rtlCol="0" anchor="ctr" anchorCtr="0"/>
          <a:lstStyle/>
          <a:p>
            <a:pPr marL="0" marR="0" lvl="0" indent="0" defTabSz="914400" eaLnBrk="1" fontAlgn="auto" latinLnBrk="0" hangingPunct="1">
              <a:lnSpc>
                <a:spcPct val="70000"/>
              </a:lnSpc>
              <a:spcBef>
                <a:spcPts val="0"/>
              </a:spcBef>
              <a:spcAft>
                <a:spcPts val="600"/>
              </a:spcAft>
              <a:buClrTx/>
              <a:buSzTx/>
              <a:buFontTx/>
              <a:buNone/>
              <a:tabLst/>
              <a:defRPr/>
            </a:pPr>
            <a:r>
              <a:rPr lang="en-GB" sz="3000" kern="0" dirty="0">
                <a:solidFill>
                  <a:srgbClr val="FFFFFF"/>
                </a:solidFill>
              </a:rPr>
              <a:t>Objective</a:t>
            </a:r>
            <a:endParaRPr kumimoji="0" lang="en-GB" sz="3000" b="0" i="0" u="none" strike="noStrike" kern="0" cap="none" spc="0" normalizeH="0" baseline="0" noProof="0" dirty="0">
              <a:ln>
                <a:noFill/>
              </a:ln>
              <a:solidFill>
                <a:srgbClr val="FFFFFF"/>
              </a:solidFill>
              <a:effectLst/>
              <a:uLnTx/>
              <a:uFillTx/>
              <a:ea typeface="+mn-ea"/>
              <a:cs typeface="+mn-cs"/>
            </a:endParaRPr>
          </a:p>
        </p:txBody>
      </p:sp>
      <p:sp>
        <p:nvSpPr>
          <p:cNvPr id="20" name="CasellaDiTesto 19">
            <a:extLst>
              <a:ext uri="{FF2B5EF4-FFF2-40B4-BE49-F238E27FC236}">
                <a16:creationId xmlns:a16="http://schemas.microsoft.com/office/drawing/2014/main" id="{0D25C128-6BA9-F4DA-6810-E737988E9364}"/>
              </a:ext>
            </a:extLst>
          </p:cNvPr>
          <p:cNvSpPr txBox="1"/>
          <p:nvPr/>
        </p:nvSpPr>
        <p:spPr>
          <a:xfrm>
            <a:off x="3648076" y="1492824"/>
            <a:ext cx="7040244" cy="369332"/>
          </a:xfrm>
          <a:prstGeom prst="rect">
            <a:avLst/>
          </a:prstGeom>
          <a:noFill/>
        </p:spPr>
        <p:txBody>
          <a:bodyPr wrap="square">
            <a:spAutoFit/>
          </a:bodyPr>
          <a:lstStyle/>
          <a:p>
            <a:r>
              <a:rPr lang="it-IT" dirty="0"/>
              <a:t>Utilizzo di CLIP per inizializzare DTCA con </a:t>
            </a:r>
            <a:r>
              <a:rPr lang="it-IT" dirty="0" err="1"/>
              <a:t>pre</a:t>
            </a:r>
            <a:r>
              <a:rPr lang="it-IT" dirty="0"/>
              <a:t>-addestramenti multimodali.</a:t>
            </a:r>
            <a:endParaRPr lang="en-US" dirty="0"/>
          </a:p>
        </p:txBody>
      </p:sp>
    </p:spTree>
    <p:extLst>
      <p:ext uri="{BB962C8B-B14F-4D97-AF65-F5344CB8AC3E}">
        <p14:creationId xmlns:p14="http://schemas.microsoft.com/office/powerpoint/2010/main" val="3596855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49C973-0909-17B9-E467-5C6394940A41}"/>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0C14F1-CDE8-6AF3-A419-5B9F4D2B7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A90C14F1-CDE8-6AF3-A419-5B9F4D2B7E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F7F7EC7F-D803-4247-D22F-EC9FCFF4F3FD}"/>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0285DBEC-EA83-88B5-DED5-DB78B0ACA402}"/>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2</a:t>
            </a:fld>
            <a:endParaRPr lang="en-GB" dirty="0">
              <a:solidFill>
                <a:srgbClr val="00396F"/>
              </a:solidFill>
              <a:latin typeface="Abadi" panose="020B0604020104020204" pitchFamily="34" charset="0"/>
            </a:endParaRPr>
          </a:p>
        </p:txBody>
      </p:sp>
      <p:sp>
        <p:nvSpPr>
          <p:cNvPr id="5" name="CasellaDiTesto 4">
            <a:extLst>
              <a:ext uri="{FF2B5EF4-FFF2-40B4-BE49-F238E27FC236}">
                <a16:creationId xmlns:a16="http://schemas.microsoft.com/office/drawing/2014/main" id="{8EC596CD-03D3-9FBC-A37C-B28806030B1C}"/>
              </a:ext>
            </a:extLst>
          </p:cNvPr>
          <p:cNvSpPr txBox="1"/>
          <p:nvPr/>
        </p:nvSpPr>
        <p:spPr>
          <a:xfrm>
            <a:off x="783166" y="1707964"/>
            <a:ext cx="6099716" cy="3970318"/>
          </a:xfrm>
          <a:prstGeom prst="rect">
            <a:avLst/>
          </a:prstGeom>
          <a:noFill/>
        </p:spPr>
        <p:txBody>
          <a:bodyPr wrap="square">
            <a:spAutoFit/>
          </a:bodyPr>
          <a:lstStyle/>
          <a:p>
            <a:pPr>
              <a:buFont typeface="Arial" panose="020B0604020202020204" pitchFamily="34" charset="0"/>
              <a:buChar char="•"/>
            </a:pPr>
            <a:r>
              <a:rPr lang="it-IT" dirty="0"/>
              <a:t>Il modello </a:t>
            </a:r>
            <a:r>
              <a:rPr lang="it-IT" b="1" dirty="0"/>
              <a:t>DTCA</a:t>
            </a:r>
            <a:r>
              <a:rPr lang="it-IT" dirty="0"/>
              <a:t> è soggetto al </a:t>
            </a:r>
            <a:r>
              <a:rPr lang="it-IT" b="1" dirty="0"/>
              <a:t>rumore nei dati di input.</a:t>
            </a:r>
          </a:p>
          <a:p>
            <a:pPr>
              <a:buFont typeface="Arial" panose="020B0604020202020204" pitchFamily="34" charset="0"/>
              <a:buChar char="•"/>
            </a:pPr>
            <a:r>
              <a:rPr lang="it-IT" dirty="0"/>
              <a:t>Per affrontare questo problema, un approccio efficace è </a:t>
            </a:r>
            <a:r>
              <a:rPr lang="it-IT" b="1" dirty="0"/>
              <a:t>stabilizzare l'apprendimento</a:t>
            </a:r>
            <a:r>
              <a:rPr lang="it-IT" dirty="0"/>
              <a:t> del modello tramite l'</a:t>
            </a:r>
            <a:r>
              <a:rPr lang="it-IT" b="1" dirty="0"/>
              <a:t>incremento dei dati</a:t>
            </a:r>
            <a:r>
              <a:rPr lang="it-IT" dirty="0"/>
              <a:t>. L'incremento dei dati (data </a:t>
            </a:r>
            <a:r>
              <a:rPr lang="it-IT" dirty="0" err="1"/>
              <a:t>augmentation</a:t>
            </a:r>
            <a:r>
              <a:rPr lang="it-IT" dirty="0"/>
              <a:t>) comporta l'aggiunta di nuovi campioni di dati artificiali a partire da quelli esistenti, applicando loro delle </a:t>
            </a:r>
            <a:r>
              <a:rPr lang="it-IT" b="1" dirty="0"/>
              <a:t>trasformazioni. </a:t>
            </a:r>
            <a:r>
              <a:rPr lang="it-IT" dirty="0"/>
              <a:t>Questo processo simula variazioni che il modello potrebbe incontrare nel mondo reale, migliorando la sua capacità di generalizzare a nuovi dati.</a:t>
            </a:r>
          </a:p>
          <a:p>
            <a:pPr>
              <a:buFont typeface="Arial" panose="020B0604020202020204" pitchFamily="34" charset="0"/>
              <a:buChar char="•"/>
            </a:pPr>
            <a:r>
              <a:rPr lang="it-IT" dirty="0"/>
              <a:t>questo approccio di </a:t>
            </a:r>
            <a:r>
              <a:rPr lang="it-IT" b="1" dirty="0"/>
              <a:t>incremento dei dati</a:t>
            </a:r>
            <a:r>
              <a:rPr lang="it-IT" dirty="0"/>
              <a:t> migliora sia la </a:t>
            </a:r>
            <a:r>
              <a:rPr lang="it-IT" b="1" dirty="0"/>
              <a:t>stabilità</a:t>
            </a:r>
            <a:r>
              <a:rPr lang="it-IT" dirty="0"/>
              <a:t> che la </a:t>
            </a:r>
            <a:r>
              <a:rPr lang="it-IT" b="1" dirty="0"/>
              <a:t>robustezza</a:t>
            </a:r>
            <a:r>
              <a:rPr lang="it-IT" dirty="0"/>
              <a:t> del processo di apprendimento, rendendo il modello DTCA più accurato e affidabile nelle sue previsioni.</a:t>
            </a:r>
          </a:p>
          <a:p>
            <a:pPr>
              <a:buFont typeface="Arial" panose="020B0604020202020204" pitchFamily="34" charset="0"/>
              <a:buChar char="•"/>
            </a:pPr>
            <a:r>
              <a:rPr lang="it-IT" dirty="0"/>
              <a:t>NUOVA VERSIONE DI </a:t>
            </a:r>
            <a:r>
              <a:rPr lang="it-IT" dirty="0" err="1"/>
              <a:t>dtca</a:t>
            </a:r>
            <a:r>
              <a:rPr lang="it-IT" dirty="0"/>
              <a:t> ha funzionato </a:t>
            </a:r>
          </a:p>
        </p:txBody>
      </p:sp>
      <p:pic>
        <p:nvPicPr>
          <p:cNvPr id="7" name="Immagine 6" descr="Immagine che contiene testo, Carattere, numero, schermata&#10;&#10;Descrizione generata automaticamente">
            <a:extLst>
              <a:ext uri="{FF2B5EF4-FFF2-40B4-BE49-F238E27FC236}">
                <a16:creationId xmlns:a16="http://schemas.microsoft.com/office/drawing/2014/main" id="{5ABE485E-A972-3BB7-A86D-10635E4B39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83705" y="3167911"/>
            <a:ext cx="4843523" cy="1320961"/>
          </a:xfrm>
          <a:prstGeom prst="rect">
            <a:avLst/>
          </a:prstGeom>
        </p:spPr>
      </p:pic>
      <p:sp>
        <p:nvSpPr>
          <p:cNvPr id="9" name="Title 2">
            <a:extLst>
              <a:ext uri="{FF2B5EF4-FFF2-40B4-BE49-F238E27FC236}">
                <a16:creationId xmlns:a16="http://schemas.microsoft.com/office/drawing/2014/main" id="{5071CE21-B607-1A4D-680B-A68DB7DDDDC3}"/>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00396F"/>
                </a:solidFill>
              </a:rPr>
              <a:t>Experiments (2/2)</a:t>
            </a:r>
            <a:endParaRPr lang="it-IT" sz="3200" dirty="0">
              <a:solidFill>
                <a:srgbClr val="00396F"/>
              </a:solidFill>
            </a:endParaRPr>
          </a:p>
        </p:txBody>
      </p:sp>
    </p:spTree>
    <p:extLst>
      <p:ext uri="{BB962C8B-B14F-4D97-AF65-F5344CB8AC3E}">
        <p14:creationId xmlns:p14="http://schemas.microsoft.com/office/powerpoint/2010/main" val="21611602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7F5C4-41B1-8A34-54B1-7FC7F567ADCB}"/>
            </a:ext>
          </a:extLst>
        </p:cNvPr>
        <p:cNvGrpSpPr/>
        <p:nvPr/>
      </p:nvGrpSpPr>
      <p:grpSpPr>
        <a:xfrm>
          <a:off x="0" y="0"/>
          <a:ext cx="0" cy="0"/>
          <a:chOff x="0" y="0"/>
          <a:chExt cx="0" cy="0"/>
        </a:xfrm>
      </p:grpSpPr>
      <p:sp>
        <p:nvSpPr>
          <p:cNvPr id="7" name="Rectangle: Rounded Corners 72">
            <a:extLst>
              <a:ext uri="{FF2B5EF4-FFF2-40B4-BE49-F238E27FC236}">
                <a16:creationId xmlns:a16="http://schemas.microsoft.com/office/drawing/2014/main" id="{4FDF11D6-8E69-6648-8449-5AD27FA9BD3D}"/>
              </a:ext>
            </a:extLst>
          </p:cNvPr>
          <p:cNvSpPr/>
          <p:nvPr/>
        </p:nvSpPr>
        <p:spPr>
          <a:xfrm>
            <a:off x="6500192" y="3020385"/>
            <a:ext cx="5090022" cy="2715895"/>
          </a:xfrm>
          <a:prstGeom prst="roundRect">
            <a:avLst>
              <a:gd name="adj" fmla="val 3683"/>
            </a:avLst>
          </a:prstGeom>
          <a:solidFill>
            <a:schemeClr val="bg1"/>
          </a:solidFill>
          <a:ln w="19050">
            <a:solidFill>
              <a:srgbClr val="00338D"/>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sp>
        <p:nvSpPr>
          <p:cNvPr id="10" name="Rectangle: Rounded Corners 171">
            <a:extLst>
              <a:ext uri="{FF2B5EF4-FFF2-40B4-BE49-F238E27FC236}">
                <a16:creationId xmlns:a16="http://schemas.microsoft.com/office/drawing/2014/main" id="{F42D87E8-90B2-3ECC-EB90-6BC77077C841}"/>
              </a:ext>
            </a:extLst>
          </p:cNvPr>
          <p:cNvSpPr/>
          <p:nvPr/>
        </p:nvSpPr>
        <p:spPr>
          <a:xfrm>
            <a:off x="601786" y="3020385"/>
            <a:ext cx="5381571" cy="2715895"/>
          </a:xfrm>
          <a:prstGeom prst="roundRect">
            <a:avLst>
              <a:gd name="adj" fmla="val 2644"/>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just"/>
            <a:r>
              <a:rPr lang="it-IT" sz="1100">
                <a:solidFill>
                  <a:srgbClr val="00338D"/>
                </a:solidFill>
              </a:rPr>
              <a:t>.</a:t>
            </a:r>
          </a:p>
        </p:txBody>
      </p:sp>
      <p:sp>
        <p:nvSpPr>
          <p:cNvPr id="11" name="Rectangle 15">
            <a:extLst>
              <a:ext uri="{FF2B5EF4-FFF2-40B4-BE49-F238E27FC236}">
                <a16:creationId xmlns:a16="http://schemas.microsoft.com/office/drawing/2014/main" id="{403B3FD8-D268-5DE4-3536-F7D22D70DDC7}"/>
              </a:ext>
            </a:extLst>
          </p:cNvPr>
          <p:cNvSpPr/>
          <p:nvPr/>
        </p:nvSpPr>
        <p:spPr>
          <a:xfrm>
            <a:off x="7660132" y="2845192"/>
            <a:ext cx="2951626" cy="302826"/>
          </a:xfrm>
          <a:prstGeom prst="rect">
            <a:avLst/>
          </a:prstGeom>
          <a:solidFill>
            <a:srgbClr val="00338D"/>
          </a:solidFill>
          <a:ln w="12700" cap="flat" cmpd="sng" algn="ctr">
            <a:noFill/>
            <a:prstDash val="solid"/>
            <a:miter lim="800000"/>
          </a:ln>
          <a:effectLst/>
        </p:spPr>
        <p:txBody>
          <a:bodyPr lIns="180000" tIns="180000" rIns="180000" bIns="180000" rtlCol="0" anchor="ctr" anchorCtr="0"/>
          <a:lstStyle/>
          <a:p>
            <a:pPr algn="ctr">
              <a:lnSpc>
                <a:spcPct val="70000"/>
              </a:lnSpc>
              <a:spcAft>
                <a:spcPts val="600"/>
              </a:spcAft>
            </a:pPr>
            <a:r>
              <a:rPr lang="en-GB" b="1" kern="0" dirty="0" err="1">
                <a:solidFill>
                  <a:srgbClr val="FFFFFF"/>
                </a:solidFill>
              </a:rPr>
              <a:t>Strenghts</a:t>
            </a:r>
            <a:endParaRPr lang="en-GB" b="1" kern="0" dirty="0">
              <a:solidFill>
                <a:srgbClr val="FFFFFF"/>
              </a:solidFill>
            </a:endParaRPr>
          </a:p>
        </p:txBody>
      </p:sp>
      <p:sp>
        <p:nvSpPr>
          <p:cNvPr id="12" name="Rectangle 8">
            <a:extLst>
              <a:ext uri="{FF2B5EF4-FFF2-40B4-BE49-F238E27FC236}">
                <a16:creationId xmlns:a16="http://schemas.microsoft.com/office/drawing/2014/main" id="{CA020437-7F30-C463-E5AF-A53C9ECA797D}"/>
              </a:ext>
            </a:extLst>
          </p:cNvPr>
          <p:cNvSpPr/>
          <p:nvPr/>
        </p:nvSpPr>
        <p:spPr>
          <a:xfrm>
            <a:off x="1669177" y="2845192"/>
            <a:ext cx="3246789" cy="302826"/>
          </a:xfrm>
          <a:prstGeom prst="rect">
            <a:avLst/>
          </a:prstGeom>
          <a:solidFill>
            <a:srgbClr val="1E49E2"/>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b="1" i="0" u="none" strike="noStrike" kern="0" cap="none" spc="0" normalizeH="0" baseline="0" noProof="0" dirty="0">
                <a:ln>
                  <a:noFill/>
                </a:ln>
                <a:solidFill>
                  <a:srgbClr val="FFFFFF"/>
                </a:solidFill>
                <a:effectLst/>
                <a:uLnTx/>
                <a:uFillTx/>
                <a:ea typeface="+mn-ea"/>
                <a:cs typeface="+mn-cs"/>
              </a:rPr>
              <a:t>Limits</a:t>
            </a:r>
          </a:p>
        </p:txBody>
      </p:sp>
      <p:graphicFrame>
        <p:nvGraphicFramePr>
          <p:cNvPr id="4" name="Object 3" hidden="1">
            <a:extLst>
              <a:ext uri="{FF2B5EF4-FFF2-40B4-BE49-F238E27FC236}">
                <a16:creationId xmlns:a16="http://schemas.microsoft.com/office/drawing/2014/main" id="{E3B6B79D-4334-CEC8-DC82-96AE847BE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4" name="Object 3" hidden="1">
                        <a:extLst>
                          <a:ext uri="{FF2B5EF4-FFF2-40B4-BE49-F238E27FC236}">
                            <a16:creationId xmlns:a16="http://schemas.microsoft.com/office/drawing/2014/main" id="{E3B6B79D-4334-CEC8-DC82-96AE847BE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D9C07B76-5B93-3D62-24C5-100B3D0D9379}"/>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AA36A3DA-1029-B3EF-FAB1-948E5F940364}"/>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3</a:t>
            </a:fld>
            <a:endParaRPr lang="en-GB" dirty="0">
              <a:solidFill>
                <a:srgbClr val="00396F"/>
              </a:solidFill>
              <a:latin typeface="Abadi" panose="020B0604020104020204" pitchFamily="34" charset="0"/>
            </a:endParaRPr>
          </a:p>
        </p:txBody>
      </p:sp>
      <p:sp>
        <p:nvSpPr>
          <p:cNvPr id="2" name="CasellaDiTesto 1">
            <a:extLst>
              <a:ext uri="{FF2B5EF4-FFF2-40B4-BE49-F238E27FC236}">
                <a16:creationId xmlns:a16="http://schemas.microsoft.com/office/drawing/2014/main" id="{2A8746B6-E49B-52D8-072C-4453AC5AE516}"/>
              </a:ext>
            </a:extLst>
          </p:cNvPr>
          <p:cNvSpPr txBox="1"/>
          <p:nvPr/>
        </p:nvSpPr>
        <p:spPr>
          <a:xfrm>
            <a:off x="944881" y="3831847"/>
            <a:ext cx="4730187" cy="1477328"/>
          </a:xfrm>
          <a:prstGeom prst="rect">
            <a:avLst/>
          </a:prstGeom>
          <a:noFill/>
        </p:spPr>
        <p:txBody>
          <a:bodyPr wrap="square" rtlCol="0">
            <a:spAutoFit/>
          </a:bodyPr>
          <a:lstStyle/>
          <a:p>
            <a:pPr marL="285750" indent="-285750">
              <a:buFont typeface="Arial" panose="020B0604020202020204" pitchFamily="34" charset="0"/>
              <a:buChar char="•"/>
            </a:pPr>
            <a:r>
              <a:rPr lang="it-IT" dirty="0">
                <a:solidFill>
                  <a:srgbClr val="00396F"/>
                </a:solidFill>
              </a:rPr>
              <a:t>Difficoltà a rilevare contesto e sfumature</a:t>
            </a:r>
          </a:p>
          <a:p>
            <a:pPr marL="285750" indent="-285750">
              <a:buFont typeface="Arial" panose="020B0604020202020204" pitchFamily="34" charset="0"/>
              <a:buChar char="•"/>
            </a:pPr>
            <a:r>
              <a:rPr lang="it-IT" dirty="0">
                <a:solidFill>
                  <a:srgbClr val="00396F"/>
                </a:solidFill>
              </a:rPr>
              <a:t>Difficoltà a comprendere contesti complessi e multimodali</a:t>
            </a:r>
          </a:p>
          <a:p>
            <a:pPr marL="285750" indent="-285750">
              <a:buFont typeface="Arial" panose="020B0604020202020204" pitchFamily="34" charset="0"/>
              <a:buChar char="•"/>
            </a:pPr>
            <a:r>
              <a:rPr lang="it-IT" dirty="0">
                <a:solidFill>
                  <a:srgbClr val="00396F"/>
                </a:solidFill>
              </a:rPr>
              <a:t>Problemi di accuratezza in dati rumorosi</a:t>
            </a:r>
          </a:p>
          <a:p>
            <a:pPr marL="285750" indent="-285750">
              <a:buFont typeface="Arial" panose="020B0604020202020204" pitchFamily="34" charset="0"/>
              <a:buChar char="•"/>
            </a:pPr>
            <a:r>
              <a:rPr lang="it-IT" dirty="0">
                <a:solidFill>
                  <a:srgbClr val="00396F"/>
                </a:solidFill>
              </a:rPr>
              <a:t>Capacità limitata di rilevare aspetti specifici</a:t>
            </a:r>
          </a:p>
        </p:txBody>
      </p:sp>
      <p:sp>
        <p:nvSpPr>
          <p:cNvPr id="5" name="CasellaDiTesto 4">
            <a:extLst>
              <a:ext uri="{FF2B5EF4-FFF2-40B4-BE49-F238E27FC236}">
                <a16:creationId xmlns:a16="http://schemas.microsoft.com/office/drawing/2014/main" id="{11EF8D98-DED0-9F90-B998-8F75D4391AB5}"/>
              </a:ext>
            </a:extLst>
          </p:cNvPr>
          <p:cNvSpPr txBox="1"/>
          <p:nvPr/>
        </p:nvSpPr>
        <p:spPr>
          <a:xfrm>
            <a:off x="6643108" y="3831847"/>
            <a:ext cx="4070815" cy="1477328"/>
          </a:xfrm>
          <a:prstGeom prst="rect">
            <a:avLst/>
          </a:prstGeom>
          <a:noFill/>
        </p:spPr>
        <p:txBody>
          <a:bodyPr wrap="square" rtlCol="0">
            <a:spAutoFit/>
          </a:bodyPr>
          <a:lstStyle/>
          <a:p>
            <a:pPr marL="285750" indent="-285750">
              <a:buFont typeface="Arial" panose="020B0604020202020204" pitchFamily="34" charset="0"/>
              <a:buChar char="•"/>
            </a:pPr>
            <a:r>
              <a:rPr lang="it-IT" dirty="0">
                <a:solidFill>
                  <a:srgbClr val="00396F"/>
                </a:solidFill>
              </a:rPr>
              <a:t>Automatizzazione dell'analisi:</a:t>
            </a:r>
          </a:p>
          <a:p>
            <a:pPr marL="285750" indent="-285750">
              <a:buFont typeface="Arial" panose="020B0604020202020204" pitchFamily="34" charset="0"/>
              <a:buChar char="•"/>
            </a:pPr>
            <a:r>
              <a:rPr lang="it-IT" dirty="0">
                <a:solidFill>
                  <a:srgbClr val="00396F"/>
                </a:solidFill>
              </a:rPr>
              <a:t>Monitoraggio in tempo reale:</a:t>
            </a:r>
          </a:p>
          <a:p>
            <a:pPr marL="285750" indent="-285750">
              <a:buFont typeface="Arial" panose="020B0604020202020204" pitchFamily="34" charset="0"/>
              <a:buChar char="•"/>
            </a:pPr>
            <a:r>
              <a:rPr lang="it-IT" dirty="0">
                <a:solidFill>
                  <a:srgbClr val="00396F"/>
                </a:solidFill>
              </a:rPr>
              <a:t>Risparmio di tempo e risorse:</a:t>
            </a:r>
          </a:p>
          <a:p>
            <a:pPr marL="285750" indent="-285750">
              <a:buFont typeface="Arial" panose="020B0604020202020204" pitchFamily="34" charset="0"/>
              <a:buChar char="•"/>
            </a:pPr>
            <a:r>
              <a:rPr lang="it-IT" dirty="0">
                <a:solidFill>
                  <a:srgbClr val="00396F"/>
                </a:solidFill>
              </a:rPr>
              <a:t>Capacità di analizzare trend:</a:t>
            </a:r>
            <a:br>
              <a:rPr lang="it-IT" dirty="0">
                <a:solidFill>
                  <a:srgbClr val="00396F"/>
                </a:solidFill>
              </a:rPr>
            </a:br>
            <a:endParaRPr lang="it-IT" dirty="0">
              <a:solidFill>
                <a:srgbClr val="00396F"/>
              </a:solidFill>
            </a:endParaRPr>
          </a:p>
        </p:txBody>
      </p:sp>
      <p:sp>
        <p:nvSpPr>
          <p:cNvPr id="8" name="Rounded Rectangle 42">
            <a:extLst>
              <a:ext uri="{FF2B5EF4-FFF2-40B4-BE49-F238E27FC236}">
                <a16:creationId xmlns:a16="http://schemas.microsoft.com/office/drawing/2014/main" id="{F1ED9E9D-03F8-8066-6FCA-CCD5ACCA4B4B}"/>
              </a:ext>
            </a:extLst>
          </p:cNvPr>
          <p:cNvSpPr/>
          <p:nvPr/>
        </p:nvSpPr>
        <p:spPr>
          <a:xfrm>
            <a:off x="794858" y="665185"/>
            <a:ext cx="10800000" cy="777618"/>
          </a:xfrm>
          <a:prstGeom prst="roundRect">
            <a:avLst>
              <a:gd name="adj" fmla="val 0"/>
            </a:avLst>
          </a:prstGeom>
          <a:solidFill>
            <a:sysClr val="window" lastClr="FFFFFF"/>
          </a:solidFill>
          <a:ln w="12700" cap="rnd">
            <a:noFill/>
            <a:prstDash val="solid"/>
            <a:round/>
          </a:ln>
          <a:effectLst>
            <a:outerShdw blurRad="139700" dist="38100" dir="2700000" sx="101000" sy="101000" algn="tl" rotWithShape="0">
              <a:srgbClr val="328AC2">
                <a:alpha val="13000"/>
              </a:srgbClr>
            </a:outerShdw>
          </a:effectLst>
          <a:sp3d/>
        </p:spPr>
        <p:txBody>
          <a:bodyPr rot="0" spcFirstLastPara="1" vertOverflow="overflow" horzOverflow="overflow" vert="horz" wrap="square" lIns="180000" tIns="180000" rIns="180000" bIns="180000" numCol="1" spcCol="38100" rtlCol="0" anchor="ctr">
            <a:noAutofit/>
          </a:bodyPr>
          <a:lstStyle/>
          <a:p>
            <a:r>
              <a:rPr lang="en-US" sz="1600" dirty="0">
                <a:solidFill>
                  <a:srgbClr val="00396F"/>
                </a:solidFill>
                <a:effectLst/>
                <a:ea typeface="Aptos" panose="020B0004020202020204" pitchFamily="34" charset="0"/>
                <a:cs typeface="Arial" panose="020B0604020202020204" pitchFamily="34" charset="0"/>
              </a:rPr>
              <a:t>«</a:t>
            </a:r>
            <a:r>
              <a:rPr lang="en-US" sz="1600" i="1" dirty="0">
                <a:solidFill>
                  <a:srgbClr val="00396F"/>
                </a:solidFill>
                <a:effectLst/>
                <a:ea typeface="Aptos" panose="020B0004020202020204" pitchFamily="34" charset="0"/>
                <a:cs typeface="Arial" panose="020B0604020202020204" pitchFamily="34" charset="0"/>
              </a:rPr>
              <a:t>Automatic analysis of opinions and feelings expressed in a text</a:t>
            </a:r>
            <a:r>
              <a:rPr lang="en-US" sz="1600" dirty="0">
                <a:solidFill>
                  <a:srgbClr val="00396F"/>
                </a:solidFill>
                <a:effectLst/>
                <a:ea typeface="Aptos" panose="020B0004020202020204" pitchFamily="34" charset="0"/>
                <a:cs typeface="Arial" panose="020B0604020202020204" pitchFamily="34" charset="0"/>
              </a:rPr>
              <a:t>»</a:t>
            </a:r>
          </a:p>
          <a:p>
            <a:r>
              <a:rPr lang="en-US" sz="1600" dirty="0">
                <a:solidFill>
                  <a:srgbClr val="00396F"/>
                </a:solidFill>
                <a:effectLst/>
                <a:ea typeface="Aptos" panose="020B0004020202020204" pitchFamily="34" charset="0"/>
                <a:cs typeface="Arial" panose="020B0604020202020204" pitchFamily="34" charset="0"/>
              </a:rPr>
              <a:t>                                             Liu, Bing (2012): Sentiment Analysis and Opinion Mining. Morgan &amp; Claypool Publishers</a:t>
            </a:r>
            <a:endParaRPr lang="it-IT" sz="1600" dirty="0">
              <a:solidFill>
                <a:srgbClr val="00396F"/>
              </a:solidFill>
              <a:effectLst/>
              <a:ea typeface="Aptos" panose="020B0004020202020204" pitchFamily="34" charset="0"/>
              <a:cs typeface="Arial" panose="020B0604020202020204" pitchFamily="34" charset="0"/>
            </a:endParaRPr>
          </a:p>
        </p:txBody>
      </p:sp>
      <p:sp>
        <p:nvSpPr>
          <p:cNvPr id="9" name="Title 2">
            <a:extLst>
              <a:ext uri="{FF2B5EF4-FFF2-40B4-BE49-F238E27FC236}">
                <a16:creationId xmlns:a16="http://schemas.microsoft.com/office/drawing/2014/main" id="{9DDFF07B-809F-BADB-DAB1-1A39B2A053A7}"/>
              </a:ext>
            </a:extLst>
          </p:cNvPr>
          <p:cNvSpPr txBox="1">
            <a:spLocks/>
          </p:cNvSpPr>
          <p:nvPr/>
        </p:nvSpPr>
        <p:spPr>
          <a:xfrm>
            <a:off x="167597" y="176229"/>
            <a:ext cx="5247683"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it-IT" sz="3200" b="1" spc="-5" dirty="0" err="1">
                <a:solidFill>
                  <a:srgbClr val="00396F"/>
                </a:solidFill>
                <a:latin typeface="+mn-lt"/>
                <a:cs typeface="Calibri"/>
              </a:rPr>
              <a:t>What</a:t>
            </a:r>
            <a:r>
              <a:rPr lang="it-IT" sz="3200" b="1" spc="-5" dirty="0">
                <a:solidFill>
                  <a:srgbClr val="00396F"/>
                </a:solidFill>
                <a:latin typeface="+mn-lt"/>
                <a:cs typeface="Calibri"/>
              </a:rPr>
              <a:t> </a:t>
            </a:r>
            <a:r>
              <a:rPr lang="it-IT" sz="3200" b="1" spc="-5" dirty="0" err="1">
                <a:solidFill>
                  <a:srgbClr val="00396F"/>
                </a:solidFill>
                <a:latin typeface="+mn-lt"/>
                <a:cs typeface="Calibri"/>
              </a:rPr>
              <a:t>is</a:t>
            </a:r>
            <a:r>
              <a:rPr lang="it-IT" sz="3200" b="1" spc="-5" dirty="0">
                <a:solidFill>
                  <a:srgbClr val="00396F"/>
                </a:solidFill>
                <a:latin typeface="+mn-lt"/>
                <a:cs typeface="Calibri"/>
              </a:rPr>
              <a:t> sentiment </a:t>
            </a:r>
            <a:r>
              <a:rPr lang="it-IT" sz="3200" b="1" spc="-5" dirty="0" err="1">
                <a:solidFill>
                  <a:srgbClr val="00396F"/>
                </a:solidFill>
                <a:latin typeface="+mn-lt"/>
                <a:cs typeface="Calibri"/>
              </a:rPr>
              <a:t>analysis</a:t>
            </a:r>
            <a:r>
              <a:rPr lang="it-IT" sz="3200" b="1" spc="-5" dirty="0">
                <a:solidFill>
                  <a:srgbClr val="00396F"/>
                </a:solidFill>
                <a:latin typeface="+mn-lt"/>
                <a:cs typeface="Calibri"/>
              </a:rPr>
              <a:t>?</a:t>
            </a:r>
            <a:endParaRPr lang="it-IT" sz="3200" i="1" dirty="0">
              <a:solidFill>
                <a:srgbClr val="00396F"/>
              </a:solidFill>
            </a:endParaRPr>
          </a:p>
        </p:txBody>
      </p:sp>
      <p:pic>
        <p:nvPicPr>
          <p:cNvPr id="15" name="Elemento grafico 14">
            <a:extLst>
              <a:ext uri="{FF2B5EF4-FFF2-40B4-BE49-F238E27FC236}">
                <a16:creationId xmlns:a16="http://schemas.microsoft.com/office/drawing/2014/main" id="{3C7E47D6-0837-F977-BF9C-85D0B90305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743819" y="2877299"/>
            <a:ext cx="218900" cy="218900"/>
          </a:xfrm>
          <a:prstGeom prst="rect">
            <a:avLst/>
          </a:prstGeom>
        </p:spPr>
      </p:pic>
      <p:pic>
        <p:nvPicPr>
          <p:cNvPr id="19" name="Elemento grafico 18" descr="Braccio muscoloso con riempimento a tinta unita">
            <a:extLst>
              <a:ext uri="{FF2B5EF4-FFF2-40B4-BE49-F238E27FC236}">
                <a16:creationId xmlns:a16="http://schemas.microsoft.com/office/drawing/2014/main" id="{285B9898-DE58-9560-0A70-700C2217C1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10932" y="2829384"/>
            <a:ext cx="287174" cy="287174"/>
          </a:xfrm>
          <a:prstGeom prst="rect">
            <a:avLst/>
          </a:prstGeom>
        </p:spPr>
      </p:pic>
      <p:pic>
        <p:nvPicPr>
          <p:cNvPr id="22" name="Elemento grafico 21" descr="Collegamento con riempimento a tinta unita">
            <a:extLst>
              <a:ext uri="{FF2B5EF4-FFF2-40B4-BE49-F238E27FC236}">
                <a16:creationId xmlns:a16="http://schemas.microsoft.com/office/drawing/2014/main" id="{E8019D80-A353-E87C-A962-369B93E580C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71765" y="3831847"/>
            <a:ext cx="914400" cy="914400"/>
          </a:xfrm>
          <a:prstGeom prst="rect">
            <a:avLst/>
          </a:prstGeom>
        </p:spPr>
      </p:pic>
    </p:spTree>
    <p:extLst>
      <p:ext uri="{BB962C8B-B14F-4D97-AF65-F5344CB8AC3E}">
        <p14:creationId xmlns:p14="http://schemas.microsoft.com/office/powerpoint/2010/main" val="34781670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E04106-CFF6-45BA-ADB6-695580D43E49}"/>
              </a:ext>
            </a:extLst>
          </p:cNvPr>
          <p:cNvGraphicFramePr>
            <a:graphicFrameLocks noChangeAspect="1"/>
          </p:cNvGraphicFramePr>
          <p:nvPr>
            <p:custDataLst>
              <p:tags r:id="rId1"/>
            </p:custDataLst>
            <p:extLst>
              <p:ext uri="{D42A27DB-BD31-4B8C-83A1-F6EECF244321}">
                <p14:modId xmlns:p14="http://schemas.microsoft.com/office/powerpoint/2010/main" val="111400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4" name="Object 3" hidden="1">
                        <a:extLst>
                          <a:ext uri="{FF2B5EF4-FFF2-40B4-BE49-F238E27FC236}">
                            <a16:creationId xmlns:a16="http://schemas.microsoft.com/office/drawing/2014/main" id="{ACE04106-CFF6-45BA-ADB6-695580D43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1238BAF2-F278-98E5-B413-1B754FEEA42E}"/>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4</a:t>
            </a:fld>
            <a:endParaRPr lang="en-GB" dirty="0">
              <a:solidFill>
                <a:srgbClr val="00396F"/>
              </a:solidFill>
              <a:latin typeface="Abadi" panose="020B0604020104020204" pitchFamily="34" charset="0"/>
            </a:endParaRPr>
          </a:p>
        </p:txBody>
      </p:sp>
      <p:grpSp>
        <p:nvGrpSpPr>
          <p:cNvPr id="7" name="Group 6">
            <a:extLst>
              <a:ext uri="{FF2B5EF4-FFF2-40B4-BE49-F238E27FC236}">
                <a16:creationId xmlns:a16="http://schemas.microsoft.com/office/drawing/2014/main" id="{4B49CC69-892C-4F59-8B67-61A4C56268C0}"/>
              </a:ext>
            </a:extLst>
          </p:cNvPr>
          <p:cNvGrpSpPr>
            <a:grpSpLocks/>
          </p:cNvGrpSpPr>
          <p:nvPr/>
        </p:nvGrpSpPr>
        <p:grpSpPr>
          <a:xfrm>
            <a:off x="7065184" y="1996181"/>
            <a:ext cx="4215391" cy="3378515"/>
            <a:chOff x="381600" y="2238133"/>
            <a:chExt cx="2962322" cy="2374216"/>
          </a:xfrm>
          <a:solidFill>
            <a:srgbClr val="00396F"/>
          </a:solidFill>
        </p:grpSpPr>
        <p:sp>
          <p:nvSpPr>
            <p:cNvPr id="8" name="Shape 21210">
              <a:extLst>
                <a:ext uri="{FF2B5EF4-FFF2-40B4-BE49-F238E27FC236}">
                  <a16:creationId xmlns:a16="http://schemas.microsoft.com/office/drawing/2014/main" id="{89DDEF85-1FC8-4D6F-A8AD-198154564D52}"/>
                </a:ext>
              </a:extLst>
            </p:cNvPr>
            <p:cNvSpPr/>
            <p:nvPr/>
          </p:nvSpPr>
          <p:spPr>
            <a:xfrm>
              <a:off x="1424511" y="2395695"/>
              <a:ext cx="1551771" cy="1184068"/>
            </a:xfrm>
            <a:custGeom>
              <a:avLst/>
              <a:gdLst/>
              <a:ahLst/>
              <a:cxnLst>
                <a:cxn ang="0">
                  <a:pos x="wd2" y="hd2"/>
                </a:cxn>
                <a:cxn ang="5400000">
                  <a:pos x="wd2" y="hd2"/>
                </a:cxn>
                <a:cxn ang="10800000">
                  <a:pos x="wd2" y="hd2"/>
                </a:cxn>
                <a:cxn ang="16200000">
                  <a:pos x="wd2" y="hd2"/>
                </a:cxn>
              </a:cxnLst>
              <a:rect l="0" t="0" r="r" b="b"/>
              <a:pathLst>
                <a:path w="21410" h="21600" extrusionOk="0">
                  <a:moveTo>
                    <a:pt x="14948" y="10819"/>
                  </a:moveTo>
                  <a:lnTo>
                    <a:pt x="21410" y="6350"/>
                  </a:lnTo>
                  <a:lnTo>
                    <a:pt x="18836" y="4002"/>
                  </a:lnTo>
                  <a:lnTo>
                    <a:pt x="18047" y="0"/>
                  </a:lnTo>
                  <a:lnTo>
                    <a:pt x="12661" y="6501"/>
                  </a:lnTo>
                  <a:lnTo>
                    <a:pt x="13032" y="8169"/>
                  </a:lnTo>
                  <a:lnTo>
                    <a:pt x="309" y="20451"/>
                  </a:lnTo>
                  <a:cubicBezTo>
                    <a:pt x="309" y="20451"/>
                    <a:pt x="-190" y="20854"/>
                    <a:pt x="81" y="21365"/>
                  </a:cubicBezTo>
                  <a:cubicBezTo>
                    <a:pt x="174" y="21542"/>
                    <a:pt x="290" y="21600"/>
                    <a:pt x="402" y="21600"/>
                  </a:cubicBezTo>
                  <a:cubicBezTo>
                    <a:pt x="613" y="21600"/>
                    <a:pt x="809" y="21394"/>
                    <a:pt x="809" y="21394"/>
                  </a:cubicBezTo>
                  <a:lnTo>
                    <a:pt x="13889" y="9787"/>
                  </a:lnTo>
                  <a:cubicBezTo>
                    <a:pt x="13889" y="9787"/>
                    <a:pt x="14948" y="10819"/>
                    <a:pt x="14948" y="10819"/>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sp>
          <p:nvSpPr>
            <p:cNvPr id="10" name="Shape 21211">
              <a:extLst>
                <a:ext uri="{FF2B5EF4-FFF2-40B4-BE49-F238E27FC236}">
                  <a16:creationId xmlns:a16="http://schemas.microsoft.com/office/drawing/2014/main" id="{DAAB6548-C0C0-4D25-9997-9E1F32C1719E}"/>
                </a:ext>
              </a:extLst>
            </p:cNvPr>
            <p:cNvSpPr/>
            <p:nvPr/>
          </p:nvSpPr>
          <p:spPr>
            <a:xfrm>
              <a:off x="381600" y="2485730"/>
              <a:ext cx="2129433" cy="2126619"/>
            </a:xfrm>
            <a:custGeom>
              <a:avLst/>
              <a:gdLst/>
              <a:ahLst/>
              <a:cxnLst>
                <a:cxn ang="0">
                  <a:pos x="wd2" y="hd2"/>
                </a:cxn>
                <a:cxn ang="5400000">
                  <a:pos x="wd2" y="hd2"/>
                </a:cxn>
                <a:cxn ang="10800000">
                  <a:pos x="wd2" y="hd2"/>
                </a:cxn>
                <a:cxn ang="16200000">
                  <a:pos x="wd2" y="hd2"/>
                </a:cxn>
              </a:cxnLst>
              <a:rect l="0" t="0" r="r" b="b"/>
              <a:pathLst>
                <a:path w="21600" h="21600" extrusionOk="0">
                  <a:moveTo>
                    <a:pt x="10726" y="0"/>
                  </a:moveTo>
                  <a:cubicBezTo>
                    <a:pt x="4806" y="32"/>
                    <a:pt x="0" y="4865"/>
                    <a:pt x="0" y="10800"/>
                  </a:cubicBezTo>
                  <a:cubicBezTo>
                    <a:pt x="0" y="16755"/>
                    <a:pt x="4839" y="21600"/>
                    <a:pt x="10786" y="21600"/>
                  </a:cubicBezTo>
                  <a:cubicBezTo>
                    <a:pt x="15892" y="21600"/>
                    <a:pt x="20180" y="18028"/>
                    <a:pt x="21291" y="13248"/>
                  </a:cubicBezTo>
                  <a:cubicBezTo>
                    <a:pt x="21291" y="13248"/>
                    <a:pt x="18572" y="15075"/>
                    <a:pt x="18572" y="15075"/>
                  </a:cubicBezTo>
                  <a:cubicBezTo>
                    <a:pt x="17060" y="17826"/>
                    <a:pt x="14137" y="19695"/>
                    <a:pt x="10786" y="19695"/>
                  </a:cubicBezTo>
                  <a:cubicBezTo>
                    <a:pt x="5888" y="19695"/>
                    <a:pt x="1903" y="15705"/>
                    <a:pt x="1903" y="10800"/>
                  </a:cubicBezTo>
                  <a:cubicBezTo>
                    <a:pt x="1903" y="10333"/>
                    <a:pt x="1940" y="9873"/>
                    <a:pt x="2010" y="9426"/>
                  </a:cubicBezTo>
                  <a:lnTo>
                    <a:pt x="1591" y="9707"/>
                  </a:lnTo>
                  <a:cubicBezTo>
                    <a:pt x="1525" y="9756"/>
                    <a:pt x="1320" y="9893"/>
                    <a:pt x="1070" y="9893"/>
                  </a:cubicBezTo>
                  <a:cubicBezTo>
                    <a:pt x="849" y="9893"/>
                    <a:pt x="653" y="9789"/>
                    <a:pt x="521" y="9600"/>
                  </a:cubicBezTo>
                  <a:cubicBezTo>
                    <a:pt x="408" y="9439"/>
                    <a:pt x="369" y="9257"/>
                    <a:pt x="407" y="9076"/>
                  </a:cubicBezTo>
                  <a:cubicBezTo>
                    <a:pt x="467" y="8786"/>
                    <a:pt x="708" y="8609"/>
                    <a:pt x="787" y="8557"/>
                  </a:cubicBezTo>
                  <a:lnTo>
                    <a:pt x="2673" y="7178"/>
                  </a:lnTo>
                  <a:cubicBezTo>
                    <a:pt x="3935" y="4355"/>
                    <a:pt x="6622" y="2307"/>
                    <a:pt x="9813" y="1958"/>
                  </a:cubicBezTo>
                  <a:lnTo>
                    <a:pt x="9915" y="1884"/>
                  </a:lnTo>
                  <a:lnTo>
                    <a:pt x="9718" y="1212"/>
                  </a:lnTo>
                  <a:lnTo>
                    <a:pt x="9651" y="984"/>
                  </a:lnTo>
                  <a:lnTo>
                    <a:pt x="9825" y="824"/>
                  </a:lnTo>
                  <a:lnTo>
                    <a:pt x="10726" y="0"/>
                  </a:lnTo>
                  <a:close/>
                  <a:moveTo>
                    <a:pt x="16368" y="1524"/>
                  </a:moveTo>
                  <a:lnTo>
                    <a:pt x="14308" y="2603"/>
                  </a:lnTo>
                  <a:cubicBezTo>
                    <a:pt x="15574" y="3147"/>
                    <a:pt x="16688" y="3978"/>
                    <a:pt x="17571" y="5013"/>
                  </a:cubicBezTo>
                  <a:lnTo>
                    <a:pt x="19112" y="3887"/>
                  </a:lnTo>
                  <a:cubicBezTo>
                    <a:pt x="18338" y="2954"/>
                    <a:pt x="17410" y="2153"/>
                    <a:pt x="16368" y="1524"/>
                  </a:cubicBezTo>
                  <a:close/>
                  <a:moveTo>
                    <a:pt x="10802" y="4496"/>
                  </a:moveTo>
                  <a:cubicBezTo>
                    <a:pt x="10173" y="4496"/>
                    <a:pt x="9564" y="4590"/>
                    <a:pt x="8990" y="4763"/>
                  </a:cubicBezTo>
                  <a:lnTo>
                    <a:pt x="5903" y="6840"/>
                  </a:lnTo>
                  <a:cubicBezTo>
                    <a:pt x="5021" y="7927"/>
                    <a:pt x="4490" y="9310"/>
                    <a:pt x="4490" y="10817"/>
                  </a:cubicBezTo>
                  <a:cubicBezTo>
                    <a:pt x="4490" y="14302"/>
                    <a:pt x="7322" y="17137"/>
                    <a:pt x="10802" y="17137"/>
                  </a:cubicBezTo>
                  <a:cubicBezTo>
                    <a:pt x="14283" y="17137"/>
                    <a:pt x="17114" y="14302"/>
                    <a:pt x="17114" y="10817"/>
                  </a:cubicBezTo>
                  <a:cubicBezTo>
                    <a:pt x="17114" y="9775"/>
                    <a:pt x="16861" y="8793"/>
                    <a:pt x="16413" y="7926"/>
                  </a:cubicBezTo>
                  <a:lnTo>
                    <a:pt x="14819" y="8997"/>
                  </a:lnTo>
                  <a:cubicBezTo>
                    <a:pt x="15071" y="9553"/>
                    <a:pt x="15212" y="10168"/>
                    <a:pt x="15212" y="10817"/>
                  </a:cubicBezTo>
                  <a:cubicBezTo>
                    <a:pt x="15212" y="13251"/>
                    <a:pt x="13234" y="15232"/>
                    <a:pt x="10802" y="15232"/>
                  </a:cubicBezTo>
                  <a:cubicBezTo>
                    <a:pt x="8371" y="15232"/>
                    <a:pt x="6393" y="13251"/>
                    <a:pt x="6393" y="10817"/>
                  </a:cubicBezTo>
                  <a:cubicBezTo>
                    <a:pt x="6393" y="8382"/>
                    <a:pt x="8371" y="6401"/>
                    <a:pt x="10802" y="6401"/>
                  </a:cubicBezTo>
                  <a:cubicBezTo>
                    <a:pt x="12023" y="6401"/>
                    <a:pt x="13128" y="6899"/>
                    <a:pt x="13928" y="7704"/>
                  </a:cubicBezTo>
                  <a:lnTo>
                    <a:pt x="15476" y="6573"/>
                  </a:lnTo>
                  <a:cubicBezTo>
                    <a:pt x="14320" y="5298"/>
                    <a:pt x="12653" y="4496"/>
                    <a:pt x="10802" y="4496"/>
                  </a:cubicBezTo>
                  <a:close/>
                  <a:moveTo>
                    <a:pt x="20154" y="5411"/>
                  </a:moveTo>
                  <a:lnTo>
                    <a:pt x="18570" y="6475"/>
                  </a:lnTo>
                  <a:cubicBezTo>
                    <a:pt x="19288" y="7758"/>
                    <a:pt x="19697" y="9235"/>
                    <a:pt x="19697" y="10807"/>
                  </a:cubicBezTo>
                  <a:cubicBezTo>
                    <a:pt x="19697" y="11369"/>
                    <a:pt x="19645" y="11920"/>
                    <a:pt x="19545" y="12453"/>
                  </a:cubicBezTo>
                  <a:lnTo>
                    <a:pt x="21598" y="10950"/>
                  </a:lnTo>
                  <a:cubicBezTo>
                    <a:pt x="21598" y="10903"/>
                    <a:pt x="21600" y="10855"/>
                    <a:pt x="21600" y="10807"/>
                  </a:cubicBezTo>
                  <a:cubicBezTo>
                    <a:pt x="21600" y="8842"/>
                    <a:pt x="21073" y="7000"/>
                    <a:pt x="20154" y="5411"/>
                  </a:cubicBezTo>
                  <a:close/>
                  <a:moveTo>
                    <a:pt x="10807" y="8992"/>
                  </a:moveTo>
                  <a:cubicBezTo>
                    <a:pt x="9799" y="8992"/>
                    <a:pt x="8981" y="9812"/>
                    <a:pt x="8981" y="10821"/>
                  </a:cubicBezTo>
                  <a:cubicBezTo>
                    <a:pt x="8981" y="11831"/>
                    <a:pt x="9799" y="12648"/>
                    <a:pt x="10807" y="12648"/>
                  </a:cubicBezTo>
                  <a:cubicBezTo>
                    <a:pt x="11815" y="12648"/>
                    <a:pt x="12631" y="11831"/>
                    <a:pt x="12631" y="10821"/>
                  </a:cubicBezTo>
                  <a:cubicBezTo>
                    <a:pt x="12631" y="10709"/>
                    <a:pt x="12622" y="10599"/>
                    <a:pt x="12603" y="10493"/>
                  </a:cubicBezTo>
                  <a:lnTo>
                    <a:pt x="11347" y="11336"/>
                  </a:lnTo>
                  <a:cubicBezTo>
                    <a:pt x="11281" y="11385"/>
                    <a:pt x="11076" y="11522"/>
                    <a:pt x="10826" y="11522"/>
                  </a:cubicBezTo>
                  <a:cubicBezTo>
                    <a:pt x="10605" y="11522"/>
                    <a:pt x="10411" y="11418"/>
                    <a:pt x="10279" y="11229"/>
                  </a:cubicBezTo>
                  <a:cubicBezTo>
                    <a:pt x="10167" y="11068"/>
                    <a:pt x="10127" y="10886"/>
                    <a:pt x="10165" y="10705"/>
                  </a:cubicBezTo>
                  <a:cubicBezTo>
                    <a:pt x="10225" y="10415"/>
                    <a:pt x="10464" y="10237"/>
                    <a:pt x="10543" y="10186"/>
                  </a:cubicBezTo>
                  <a:lnTo>
                    <a:pt x="11785" y="9278"/>
                  </a:lnTo>
                  <a:cubicBezTo>
                    <a:pt x="11502" y="9098"/>
                    <a:pt x="11167" y="8992"/>
                    <a:pt x="10807" y="8992"/>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sp>
          <p:nvSpPr>
            <p:cNvPr id="11" name="Shape 21212">
              <a:extLst>
                <a:ext uri="{FF2B5EF4-FFF2-40B4-BE49-F238E27FC236}">
                  <a16:creationId xmlns:a16="http://schemas.microsoft.com/office/drawing/2014/main" id="{8C82E22D-DF90-4DDB-AD93-675FE679B4C1}"/>
                </a:ext>
              </a:extLst>
            </p:cNvPr>
            <p:cNvSpPr/>
            <p:nvPr/>
          </p:nvSpPr>
          <p:spPr>
            <a:xfrm>
              <a:off x="1792155" y="2995931"/>
              <a:ext cx="1551767" cy="1184072"/>
            </a:xfrm>
            <a:custGeom>
              <a:avLst/>
              <a:gdLst/>
              <a:ahLst/>
              <a:cxnLst>
                <a:cxn ang="0">
                  <a:pos x="wd2" y="hd2"/>
                </a:cxn>
                <a:cxn ang="5400000">
                  <a:pos x="wd2" y="hd2"/>
                </a:cxn>
                <a:cxn ang="10800000">
                  <a:pos x="wd2" y="hd2"/>
                </a:cxn>
                <a:cxn ang="16200000">
                  <a:pos x="wd2" y="hd2"/>
                </a:cxn>
              </a:cxnLst>
              <a:rect l="0" t="0" r="r" b="b"/>
              <a:pathLst>
                <a:path w="21410" h="21600" extrusionOk="0">
                  <a:moveTo>
                    <a:pt x="14948" y="10819"/>
                  </a:moveTo>
                  <a:lnTo>
                    <a:pt x="21410" y="6350"/>
                  </a:lnTo>
                  <a:lnTo>
                    <a:pt x="18836" y="4002"/>
                  </a:lnTo>
                  <a:lnTo>
                    <a:pt x="18047" y="0"/>
                  </a:lnTo>
                  <a:lnTo>
                    <a:pt x="12661" y="6501"/>
                  </a:lnTo>
                  <a:lnTo>
                    <a:pt x="13032" y="8169"/>
                  </a:lnTo>
                  <a:lnTo>
                    <a:pt x="309" y="20451"/>
                  </a:lnTo>
                  <a:cubicBezTo>
                    <a:pt x="309" y="20451"/>
                    <a:pt x="-190" y="20854"/>
                    <a:pt x="81" y="21365"/>
                  </a:cubicBezTo>
                  <a:cubicBezTo>
                    <a:pt x="174" y="21542"/>
                    <a:pt x="290" y="21600"/>
                    <a:pt x="402" y="21600"/>
                  </a:cubicBezTo>
                  <a:cubicBezTo>
                    <a:pt x="613" y="21600"/>
                    <a:pt x="809" y="21394"/>
                    <a:pt x="809" y="21394"/>
                  </a:cubicBezTo>
                  <a:lnTo>
                    <a:pt x="13889" y="9787"/>
                  </a:lnTo>
                  <a:cubicBezTo>
                    <a:pt x="13889" y="9787"/>
                    <a:pt x="14948" y="10819"/>
                    <a:pt x="14948" y="10819"/>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sp>
          <p:nvSpPr>
            <p:cNvPr id="12" name="Shape 21213">
              <a:extLst>
                <a:ext uri="{FF2B5EF4-FFF2-40B4-BE49-F238E27FC236}">
                  <a16:creationId xmlns:a16="http://schemas.microsoft.com/office/drawing/2014/main" id="{346B73A3-C35C-4E2C-AFF3-8F6289385165}"/>
                </a:ext>
              </a:extLst>
            </p:cNvPr>
            <p:cNvSpPr/>
            <p:nvPr/>
          </p:nvSpPr>
          <p:spPr>
            <a:xfrm>
              <a:off x="458614" y="2238133"/>
              <a:ext cx="1551771" cy="1184068"/>
            </a:xfrm>
            <a:custGeom>
              <a:avLst/>
              <a:gdLst/>
              <a:ahLst/>
              <a:cxnLst>
                <a:cxn ang="0">
                  <a:pos x="wd2" y="hd2"/>
                </a:cxn>
                <a:cxn ang="5400000">
                  <a:pos x="wd2" y="hd2"/>
                </a:cxn>
                <a:cxn ang="10800000">
                  <a:pos x="wd2" y="hd2"/>
                </a:cxn>
                <a:cxn ang="16200000">
                  <a:pos x="wd2" y="hd2"/>
                </a:cxn>
              </a:cxnLst>
              <a:rect l="0" t="0" r="r" b="b"/>
              <a:pathLst>
                <a:path w="21410" h="21600" extrusionOk="0">
                  <a:moveTo>
                    <a:pt x="14948" y="10819"/>
                  </a:moveTo>
                  <a:lnTo>
                    <a:pt x="21410" y="6350"/>
                  </a:lnTo>
                  <a:lnTo>
                    <a:pt x="18836" y="4002"/>
                  </a:lnTo>
                  <a:lnTo>
                    <a:pt x="18047" y="0"/>
                  </a:lnTo>
                  <a:lnTo>
                    <a:pt x="12661" y="6501"/>
                  </a:lnTo>
                  <a:lnTo>
                    <a:pt x="13032" y="8169"/>
                  </a:lnTo>
                  <a:lnTo>
                    <a:pt x="309" y="20451"/>
                  </a:lnTo>
                  <a:cubicBezTo>
                    <a:pt x="309" y="20451"/>
                    <a:pt x="-190" y="20854"/>
                    <a:pt x="81" y="21365"/>
                  </a:cubicBezTo>
                  <a:cubicBezTo>
                    <a:pt x="174" y="21542"/>
                    <a:pt x="290" y="21600"/>
                    <a:pt x="402" y="21600"/>
                  </a:cubicBezTo>
                  <a:cubicBezTo>
                    <a:pt x="613" y="21600"/>
                    <a:pt x="809" y="21394"/>
                    <a:pt x="809" y="21394"/>
                  </a:cubicBezTo>
                  <a:lnTo>
                    <a:pt x="13889" y="9787"/>
                  </a:lnTo>
                  <a:cubicBezTo>
                    <a:pt x="13889" y="9787"/>
                    <a:pt x="14948" y="10819"/>
                    <a:pt x="14948" y="10819"/>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grpSp>
      <p:sp>
        <p:nvSpPr>
          <p:cNvPr id="2" name="Title 2">
            <a:extLst>
              <a:ext uri="{FF2B5EF4-FFF2-40B4-BE49-F238E27FC236}">
                <a16:creationId xmlns:a16="http://schemas.microsoft.com/office/drawing/2014/main" id="{EDEB00B4-4A75-E6B4-ED52-7C5C35000CFC}"/>
              </a:ext>
            </a:extLst>
          </p:cNvPr>
          <p:cNvSpPr txBox="1">
            <a:spLocks/>
          </p:cNvSpPr>
          <p:nvPr/>
        </p:nvSpPr>
        <p:spPr>
          <a:xfrm>
            <a:off x="167597" y="176229"/>
            <a:ext cx="4201203"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b="1" dirty="0">
                <a:solidFill>
                  <a:srgbClr val="00396F"/>
                </a:solidFill>
                <a:latin typeface="+mn-lt"/>
              </a:rPr>
              <a:t>Objective of the thesis</a:t>
            </a:r>
            <a:endParaRPr lang="it-IT" sz="3200" i="1" dirty="0">
              <a:solidFill>
                <a:srgbClr val="00396F"/>
              </a:solidFill>
            </a:endParaRPr>
          </a:p>
        </p:txBody>
      </p:sp>
      <p:sp>
        <p:nvSpPr>
          <p:cNvPr id="14" name="Rounded Rectangle 42">
            <a:extLst>
              <a:ext uri="{FF2B5EF4-FFF2-40B4-BE49-F238E27FC236}">
                <a16:creationId xmlns:a16="http://schemas.microsoft.com/office/drawing/2014/main" id="{E12F5498-541B-9ED4-99F8-31C6C614D929}"/>
              </a:ext>
            </a:extLst>
          </p:cNvPr>
          <p:cNvSpPr/>
          <p:nvPr/>
        </p:nvSpPr>
        <p:spPr>
          <a:xfrm>
            <a:off x="794858" y="665185"/>
            <a:ext cx="10800000" cy="777618"/>
          </a:xfrm>
          <a:prstGeom prst="roundRect">
            <a:avLst>
              <a:gd name="adj" fmla="val 0"/>
            </a:avLst>
          </a:prstGeom>
          <a:solidFill>
            <a:sysClr val="window" lastClr="FFFFFF"/>
          </a:solidFill>
          <a:ln w="12700" cap="rnd">
            <a:noFill/>
            <a:prstDash val="solid"/>
            <a:round/>
          </a:ln>
          <a:effectLst>
            <a:outerShdw blurRad="139700" dist="38100" dir="2700000" sx="101000" sy="101000" algn="tl" rotWithShape="0">
              <a:srgbClr val="328AC2">
                <a:alpha val="13000"/>
              </a:srgbClr>
            </a:outerShdw>
          </a:effectLst>
          <a:sp3d/>
        </p:spPr>
        <p:txBody>
          <a:bodyPr rot="0" spcFirstLastPara="1" vertOverflow="overflow" horzOverflow="overflow" vert="horz" wrap="square" lIns="180000" tIns="180000" rIns="180000" bIns="180000" numCol="1" spcCol="38100" rtlCol="0" anchor="ctr">
            <a:noAutofit/>
          </a:bodyPr>
          <a:lstStyle/>
          <a:p>
            <a:r>
              <a:rPr lang="it-IT" sz="1600" dirty="0">
                <a:solidFill>
                  <a:srgbClr val="00396F"/>
                </a:solidFill>
                <a:effectLst/>
                <a:ea typeface="Aptos" panose="020B0004020202020204" pitchFamily="34" charset="0"/>
                <a:cs typeface="Arial" panose="020B0604020202020204" pitchFamily="34" charset="0"/>
              </a:rPr>
              <a:t>L'analisi del solo testo non è più sufficiente per catturare la complessità delle emozioni espresse.</a:t>
            </a:r>
          </a:p>
        </p:txBody>
      </p:sp>
      <p:grpSp>
        <p:nvGrpSpPr>
          <p:cNvPr id="20" name="Gruppo 19">
            <a:extLst>
              <a:ext uri="{FF2B5EF4-FFF2-40B4-BE49-F238E27FC236}">
                <a16:creationId xmlns:a16="http://schemas.microsoft.com/office/drawing/2014/main" id="{B2627D18-9FDE-DC15-B055-416BDABBA024}"/>
              </a:ext>
            </a:extLst>
          </p:cNvPr>
          <p:cNvGrpSpPr/>
          <p:nvPr/>
        </p:nvGrpSpPr>
        <p:grpSpPr>
          <a:xfrm>
            <a:off x="977215" y="1913451"/>
            <a:ext cx="5225144" cy="3543974"/>
            <a:chOff x="977215" y="1732411"/>
            <a:chExt cx="5225144" cy="3543974"/>
          </a:xfrm>
        </p:grpSpPr>
        <p:sp>
          <p:nvSpPr>
            <p:cNvPr id="15" name="Rectangle 64">
              <a:extLst>
                <a:ext uri="{FF2B5EF4-FFF2-40B4-BE49-F238E27FC236}">
                  <a16:creationId xmlns:a16="http://schemas.microsoft.com/office/drawing/2014/main" id="{2D94D221-C15A-8241-633C-9E962EAC9963}"/>
                </a:ext>
              </a:extLst>
            </p:cNvPr>
            <p:cNvSpPr/>
            <p:nvPr/>
          </p:nvSpPr>
          <p:spPr>
            <a:xfrm>
              <a:off x="977215" y="1975472"/>
              <a:ext cx="5225144" cy="3300913"/>
            </a:xfrm>
            <a:prstGeom prst="rect">
              <a:avLst/>
            </a:prstGeom>
            <a:solidFill>
              <a:srgbClr val="E7ECFF"/>
            </a:solidFill>
            <a:ln w="6350">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r>
                <a:rPr lang="it-IT" sz="1400" dirty="0">
                  <a:solidFill>
                    <a:srgbClr val="00396F"/>
                  </a:solidFill>
                </a:rPr>
                <a:t>Il problema affrontato riguarda la limitazione delle tecniche tradizionali di sentiment </a:t>
              </a:r>
              <a:r>
                <a:rPr lang="it-IT" sz="1400" dirty="0" err="1">
                  <a:solidFill>
                    <a:srgbClr val="00396F"/>
                  </a:solidFill>
                </a:rPr>
                <a:t>analysis</a:t>
              </a:r>
              <a:r>
                <a:rPr lang="it-IT" sz="1400" dirty="0">
                  <a:solidFill>
                    <a:srgbClr val="00396F"/>
                  </a:solidFill>
                </a:rPr>
                <a:t> nell'interpretare correttamente le emozioni quando il contenuto è multimodale, ovvero composto sia da testo che da immagini. Le soluzioni convenzionali si concentrano esclusivamente sui dati testuali, trascurando il contesto visivo, che può modificare in modo significativo il significato di un commento o di un post.</a:t>
              </a:r>
              <a:endParaRPr kumimoji="0" lang="it-IT" sz="15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6" name="Rettangolo con angoli arrotondati 15">
              <a:extLst>
                <a:ext uri="{FF2B5EF4-FFF2-40B4-BE49-F238E27FC236}">
                  <a16:creationId xmlns:a16="http://schemas.microsoft.com/office/drawing/2014/main" id="{BDD6B88F-5EF5-012B-8CFA-DDEAEEEFC341}"/>
                </a:ext>
              </a:extLst>
            </p:cNvPr>
            <p:cNvSpPr/>
            <p:nvPr/>
          </p:nvSpPr>
          <p:spPr>
            <a:xfrm>
              <a:off x="1900337" y="1732411"/>
              <a:ext cx="3369365" cy="329922"/>
            </a:xfrm>
            <a:prstGeom prst="roundRect">
              <a:avLst/>
            </a:prstGeom>
            <a:solidFill>
              <a:srgbClr val="1B408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kumimoji="0" lang="it-IT" sz="1600" b="1" i="0" u="none" strike="noStrike" kern="1200" cap="none" spc="0" normalizeH="0" baseline="0" noProof="0" dirty="0" err="1">
                  <a:ln>
                    <a:noFill/>
                  </a:ln>
                  <a:solidFill>
                    <a:schemeClr val="bg1"/>
                  </a:solidFill>
                  <a:effectLst/>
                  <a:uLnTx/>
                  <a:uFillTx/>
                  <a:latin typeface="Verdana" panose="020B0604030504040204" pitchFamily="34" charset="0"/>
                  <a:ea typeface="Verdana" panose="020B0604030504040204" pitchFamily="34" charset="0"/>
                </a:rPr>
                <a:t>Objective</a:t>
              </a:r>
              <a:endParaRPr kumimoji="0" lang="it-IT" sz="16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endParaRPr>
            </a:p>
          </p:txBody>
        </p:sp>
      </p:grpSp>
      <p:sp>
        <p:nvSpPr>
          <p:cNvPr id="19" name="Ovale 18">
            <a:extLst>
              <a:ext uri="{FF2B5EF4-FFF2-40B4-BE49-F238E27FC236}">
                <a16:creationId xmlns:a16="http://schemas.microsoft.com/office/drawing/2014/main" id="{FAA4F892-36A8-652A-CAE8-FE4E13D6DCA4}"/>
              </a:ext>
            </a:extLst>
          </p:cNvPr>
          <p:cNvSpPr/>
          <p:nvPr/>
        </p:nvSpPr>
        <p:spPr>
          <a:xfrm>
            <a:off x="-1818640" y="1399831"/>
            <a:ext cx="1470164" cy="143480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lide 4 o slide 2?</a:t>
            </a:r>
          </a:p>
          <a:p>
            <a:pPr algn="ctr"/>
            <a:endParaRPr lang="en-US" dirty="0"/>
          </a:p>
        </p:txBody>
      </p:sp>
    </p:spTree>
    <p:extLst>
      <p:ext uri="{BB962C8B-B14F-4D97-AF65-F5344CB8AC3E}">
        <p14:creationId xmlns:p14="http://schemas.microsoft.com/office/powerpoint/2010/main" val="492902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a:solidFill>
                  <a:srgbClr val="00396F"/>
                </a:solidFill>
                <a:latin typeface="+mn-lt"/>
                <a:cs typeface="Calibri"/>
              </a:rPr>
              <a:t>Agenda</a:t>
            </a:r>
            <a:r>
              <a:rPr lang="it-IT" sz="4000" spc="-5" dirty="0">
                <a:solidFill>
                  <a:srgbClr val="BEBDBD"/>
                </a:solidFill>
              </a:rPr>
              <a:t>					</a:t>
            </a:r>
            <a:endParaRPr sz="4000" dirty="0">
              <a:solidFill>
                <a:srgbClr val="BEBDBD"/>
              </a:solidFill>
            </a:endParaRPr>
          </a:p>
        </p:txBody>
      </p:sp>
      <p:sp>
        <p:nvSpPr>
          <p:cNvPr id="7" name="object 24">
            <a:extLst>
              <a:ext uri="{FF2B5EF4-FFF2-40B4-BE49-F238E27FC236}">
                <a16:creationId xmlns:a16="http://schemas.microsoft.com/office/drawing/2014/main" id="{66D95CBA-AE22-B5BC-F421-0EE5F4527D48}"/>
              </a:ext>
            </a:extLst>
          </p:cNvPr>
          <p:cNvSpPr txBox="1">
            <a:spLocks/>
          </p:cNvSpPr>
          <p:nvPr/>
        </p:nvSpPr>
        <p:spPr>
          <a:xfrm>
            <a:off x="1681161" y="1751874"/>
            <a:ext cx="9344026" cy="3354252"/>
          </a:xfrm>
          <a:prstGeom prst="rect">
            <a:avLst/>
          </a:prstGeom>
        </p:spPr>
        <p:txBody>
          <a:bodyPr vert="horz" wrap="square" lIns="0" tIns="12065"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200000"/>
              </a:lnSpc>
              <a:spcBef>
                <a:spcPts val="95"/>
              </a:spcBef>
            </a:pPr>
            <a:r>
              <a:rPr lang="it-IT" sz="2200" b="1" spc="-5" dirty="0" err="1">
                <a:solidFill>
                  <a:srgbClr val="00396F"/>
                </a:solidFill>
                <a:latin typeface="+mn-lt"/>
                <a:cs typeface="Calibri"/>
              </a:rPr>
              <a:t>Objective</a:t>
            </a:r>
            <a:r>
              <a:rPr lang="it-IT" sz="2200" b="1" spc="-5" dirty="0">
                <a:solidFill>
                  <a:srgbClr val="00396F"/>
                </a:solidFill>
                <a:latin typeface="+mn-lt"/>
                <a:cs typeface="Calibri"/>
              </a:rPr>
              <a:t> of the </a:t>
            </a:r>
            <a:r>
              <a:rPr lang="it-IT" sz="2200" b="1" spc="-5" dirty="0" err="1">
                <a:solidFill>
                  <a:srgbClr val="00396F"/>
                </a:solidFill>
                <a:latin typeface="+mn-lt"/>
                <a:cs typeface="Calibri"/>
              </a:rPr>
              <a:t>thesis</a:t>
            </a:r>
            <a:endParaRPr lang="it-IT" sz="2200" b="1" spc="-5" dirty="0">
              <a:solidFill>
                <a:srgbClr val="00396F"/>
              </a:solidFill>
              <a:latin typeface="+mn-lt"/>
              <a:cs typeface="Calibri"/>
            </a:endParaRPr>
          </a:p>
          <a:p>
            <a:pPr marL="12700">
              <a:lnSpc>
                <a:spcPct val="200000"/>
              </a:lnSpc>
              <a:spcBef>
                <a:spcPts val="95"/>
              </a:spcBef>
            </a:pPr>
            <a:r>
              <a:rPr lang="it-IT" sz="2200" b="1" spc="-5" dirty="0" err="1">
                <a:solidFill>
                  <a:srgbClr val="00396F"/>
                </a:solidFill>
                <a:latin typeface="+mn-lt"/>
                <a:cs typeface="Calibri"/>
              </a:rPr>
              <a:t>Research</a:t>
            </a:r>
            <a:r>
              <a:rPr lang="it-IT" sz="2200" b="1" spc="-5" dirty="0">
                <a:solidFill>
                  <a:srgbClr val="00396F"/>
                </a:solidFill>
                <a:latin typeface="+mn-lt"/>
                <a:cs typeface="Calibri"/>
              </a:rPr>
              <a:t> </a:t>
            </a:r>
            <a:r>
              <a:rPr lang="it-IT" sz="2200" b="1" spc="-5" dirty="0" err="1">
                <a:solidFill>
                  <a:srgbClr val="00396F"/>
                </a:solidFill>
                <a:latin typeface="+mn-lt"/>
                <a:cs typeface="Calibri"/>
              </a:rPr>
              <a:t>Question</a:t>
            </a:r>
            <a:r>
              <a:rPr lang="it-IT" sz="2200" b="1" spc="-5" dirty="0">
                <a:solidFill>
                  <a:srgbClr val="00396F"/>
                </a:solidFill>
                <a:latin typeface="+mn-lt"/>
                <a:cs typeface="Calibri"/>
              </a:rPr>
              <a:t> &amp; </a:t>
            </a:r>
            <a:r>
              <a:rPr lang="it-IT" sz="2200" b="1" spc="-5" dirty="0" err="1">
                <a:solidFill>
                  <a:srgbClr val="00396F"/>
                </a:solidFill>
                <a:latin typeface="+mn-lt"/>
                <a:cs typeface="Calibri"/>
              </a:rPr>
              <a:t>Methodology</a:t>
            </a:r>
            <a:endParaRPr lang="it-IT" sz="2200" b="1" spc="-5" dirty="0">
              <a:solidFill>
                <a:srgbClr val="00396F"/>
              </a:solidFill>
              <a:latin typeface="+mn-lt"/>
              <a:cs typeface="Calibri"/>
            </a:endParaRPr>
          </a:p>
          <a:p>
            <a:pPr marL="12700">
              <a:lnSpc>
                <a:spcPct val="200000"/>
              </a:lnSpc>
              <a:spcBef>
                <a:spcPts val="95"/>
              </a:spcBef>
            </a:pPr>
            <a:r>
              <a:rPr lang="it-IT" sz="2200" b="1" spc="-5" dirty="0">
                <a:solidFill>
                  <a:srgbClr val="00396F"/>
                </a:solidFill>
                <a:latin typeface="+mn-lt"/>
                <a:cs typeface="Calibri"/>
              </a:rPr>
              <a:t>Open Innovation, Crowdsourcing and Crowdfunding</a:t>
            </a:r>
          </a:p>
          <a:p>
            <a:pPr marL="12700">
              <a:lnSpc>
                <a:spcPct val="200000"/>
              </a:lnSpc>
              <a:spcBef>
                <a:spcPts val="95"/>
              </a:spcBef>
            </a:pPr>
            <a:r>
              <a:rPr lang="it-IT" sz="2200" b="1" spc="-5" dirty="0">
                <a:solidFill>
                  <a:srgbClr val="00396F"/>
                </a:solidFill>
                <a:latin typeface="+mn-lt"/>
                <a:cs typeface="Calibri"/>
              </a:rPr>
              <a:t>Case Study</a:t>
            </a:r>
          </a:p>
          <a:p>
            <a:pPr marL="12700">
              <a:lnSpc>
                <a:spcPct val="200000"/>
              </a:lnSpc>
              <a:spcBef>
                <a:spcPts val="95"/>
              </a:spcBef>
            </a:pPr>
            <a:r>
              <a:rPr lang="it-IT" sz="2200" b="1" spc="-5" dirty="0" err="1">
                <a:solidFill>
                  <a:srgbClr val="00396F"/>
                </a:solidFill>
                <a:latin typeface="+mn-lt"/>
                <a:cs typeface="Calibri"/>
              </a:rPr>
              <a:t>Conclusions</a:t>
            </a:r>
            <a:endParaRPr lang="it-IT" sz="2200" b="1" spc="-5" dirty="0">
              <a:solidFill>
                <a:srgbClr val="00396F"/>
              </a:solidFill>
              <a:latin typeface="+mn-lt"/>
              <a:cs typeface="Calibri"/>
            </a:endParaRPr>
          </a:p>
        </p:txBody>
      </p:sp>
      <p:sp>
        <p:nvSpPr>
          <p:cNvPr id="8" name="Oval 7">
            <a:extLst>
              <a:ext uri="{FF2B5EF4-FFF2-40B4-BE49-F238E27FC236}">
                <a16:creationId xmlns:a16="http://schemas.microsoft.com/office/drawing/2014/main" id="{48B48729-F633-C4D1-1AAD-3B28E71091C4}"/>
              </a:ext>
            </a:extLst>
          </p:cNvPr>
          <p:cNvSpPr/>
          <p:nvPr/>
        </p:nvSpPr>
        <p:spPr>
          <a:xfrm>
            <a:off x="1023936" y="1965929"/>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1</a:t>
            </a:r>
            <a:endParaRPr lang="en-GB" dirty="0">
              <a:solidFill>
                <a:schemeClr val="bg1"/>
              </a:solidFill>
            </a:endParaRPr>
          </a:p>
        </p:txBody>
      </p:sp>
      <p:sp>
        <p:nvSpPr>
          <p:cNvPr id="9" name="Oval 8">
            <a:extLst>
              <a:ext uri="{FF2B5EF4-FFF2-40B4-BE49-F238E27FC236}">
                <a16:creationId xmlns:a16="http://schemas.microsoft.com/office/drawing/2014/main" id="{F4EBDC9E-1CB9-EA4E-AE96-20FFA7CA11BD}"/>
              </a:ext>
            </a:extLst>
          </p:cNvPr>
          <p:cNvSpPr/>
          <p:nvPr/>
        </p:nvSpPr>
        <p:spPr>
          <a:xfrm>
            <a:off x="1023936" y="2644418"/>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2</a:t>
            </a:r>
            <a:endParaRPr lang="en-GB" dirty="0">
              <a:solidFill>
                <a:schemeClr val="bg1"/>
              </a:solidFill>
            </a:endParaRPr>
          </a:p>
        </p:txBody>
      </p:sp>
      <p:sp>
        <p:nvSpPr>
          <p:cNvPr id="10" name="Oval 9">
            <a:extLst>
              <a:ext uri="{FF2B5EF4-FFF2-40B4-BE49-F238E27FC236}">
                <a16:creationId xmlns:a16="http://schemas.microsoft.com/office/drawing/2014/main" id="{3AF62168-99C6-01D1-3C47-E711531D0BDA}"/>
              </a:ext>
            </a:extLst>
          </p:cNvPr>
          <p:cNvSpPr/>
          <p:nvPr/>
        </p:nvSpPr>
        <p:spPr>
          <a:xfrm>
            <a:off x="1023936" y="3320070"/>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3</a:t>
            </a:r>
            <a:endParaRPr lang="en-GB" dirty="0">
              <a:solidFill>
                <a:schemeClr val="bg1"/>
              </a:solidFill>
            </a:endParaRPr>
          </a:p>
        </p:txBody>
      </p:sp>
      <p:sp>
        <p:nvSpPr>
          <p:cNvPr id="11" name="Oval 10">
            <a:extLst>
              <a:ext uri="{FF2B5EF4-FFF2-40B4-BE49-F238E27FC236}">
                <a16:creationId xmlns:a16="http://schemas.microsoft.com/office/drawing/2014/main" id="{772B4248-A7CD-C39D-FDF8-7C1F44DC0CB8}"/>
              </a:ext>
            </a:extLst>
          </p:cNvPr>
          <p:cNvSpPr/>
          <p:nvPr/>
        </p:nvSpPr>
        <p:spPr>
          <a:xfrm>
            <a:off x="1023936" y="3995722"/>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4</a:t>
            </a:r>
            <a:endParaRPr lang="en-GB" dirty="0">
              <a:solidFill>
                <a:schemeClr val="bg1"/>
              </a:solidFill>
            </a:endParaRPr>
          </a:p>
        </p:txBody>
      </p:sp>
      <p:sp>
        <p:nvSpPr>
          <p:cNvPr id="12" name="Oval 11">
            <a:extLst>
              <a:ext uri="{FF2B5EF4-FFF2-40B4-BE49-F238E27FC236}">
                <a16:creationId xmlns:a16="http://schemas.microsoft.com/office/drawing/2014/main" id="{D4A705CD-0BF9-15FF-EE8D-02CDD21C5AC0}"/>
              </a:ext>
            </a:extLst>
          </p:cNvPr>
          <p:cNvSpPr/>
          <p:nvPr/>
        </p:nvSpPr>
        <p:spPr>
          <a:xfrm>
            <a:off x="1023936" y="4671374"/>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5</a:t>
            </a:r>
            <a:endParaRPr lang="en-GB" dirty="0">
              <a:solidFill>
                <a:schemeClr val="bg1"/>
              </a:solidFill>
            </a:endParaRPr>
          </a:p>
        </p:txBody>
      </p:sp>
      <p:sp>
        <p:nvSpPr>
          <p:cNvPr id="15" name="Slide Number Placeholder 6">
            <a:extLst>
              <a:ext uri="{FF2B5EF4-FFF2-40B4-BE49-F238E27FC236}">
                <a16:creationId xmlns:a16="http://schemas.microsoft.com/office/drawing/2014/main" id="{73E892C5-45EF-C960-BED8-25443067DCC7}"/>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5</a:t>
            </a:fld>
            <a:endParaRPr lang="en-GB" dirty="0">
              <a:solidFill>
                <a:srgbClr val="00396F"/>
              </a:solidFill>
              <a:latin typeface="Abadi" panose="020B0604020104020204" pitchFamily="34" charset="0"/>
            </a:endParaRPr>
          </a:p>
        </p:txBody>
      </p:sp>
    </p:spTree>
    <p:extLst>
      <p:ext uri="{BB962C8B-B14F-4D97-AF65-F5344CB8AC3E}">
        <p14:creationId xmlns:p14="http://schemas.microsoft.com/office/powerpoint/2010/main" val="17047808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ttangolo 20">
            <a:extLst>
              <a:ext uri="{FF2B5EF4-FFF2-40B4-BE49-F238E27FC236}">
                <a16:creationId xmlns:a16="http://schemas.microsoft.com/office/drawing/2014/main" id="{54F6668F-4ED7-88E4-E113-D0B2B655D957}"/>
              </a:ext>
            </a:extLst>
          </p:cNvPr>
          <p:cNvSpPr/>
          <p:nvPr/>
        </p:nvSpPr>
        <p:spPr bwMode="auto">
          <a:xfrm>
            <a:off x="0" y="-332520"/>
            <a:ext cx="7762672" cy="71905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rgbClr val="D8DCED"/>
              </a:solidFill>
              <a:effectLst/>
              <a:latin typeface="Helvetica Neue" pitchFamily="-112" charset="0"/>
            </a:endParaRPr>
          </a:p>
        </p:txBody>
      </p:sp>
      <p:sp>
        <p:nvSpPr>
          <p:cNvPr id="14" name="Title 2">
            <a:extLst>
              <a:ext uri="{FF2B5EF4-FFF2-40B4-BE49-F238E27FC236}">
                <a16:creationId xmlns:a16="http://schemas.microsoft.com/office/drawing/2014/main" id="{4AB75095-F301-91F0-84C3-38AE674FB375}"/>
              </a:ext>
            </a:extLst>
          </p:cNvPr>
          <p:cNvSpPr txBox="1">
            <a:spLocks/>
          </p:cNvSpPr>
          <p:nvPr/>
        </p:nvSpPr>
        <p:spPr>
          <a:xfrm>
            <a:off x="167597" y="176229"/>
            <a:ext cx="1655013"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it-IT" sz="3200" i="1" dirty="0">
                <a:solidFill>
                  <a:srgbClr val="00396F"/>
                </a:solidFill>
              </a:rPr>
              <a:t>Agenda</a:t>
            </a:r>
          </a:p>
        </p:txBody>
      </p:sp>
      <p:sp>
        <p:nvSpPr>
          <p:cNvPr id="5" name="Rettangolo 4">
            <a:extLst>
              <a:ext uri="{FF2B5EF4-FFF2-40B4-BE49-F238E27FC236}">
                <a16:creationId xmlns:a16="http://schemas.microsoft.com/office/drawing/2014/main" id="{F138A195-3608-3E01-B2F6-8F8F8A23DDAE}"/>
              </a:ext>
            </a:extLst>
          </p:cNvPr>
          <p:cNvSpPr/>
          <p:nvPr/>
        </p:nvSpPr>
        <p:spPr bwMode="auto">
          <a:xfrm>
            <a:off x="6960048" y="0"/>
            <a:ext cx="137723" cy="6858000"/>
          </a:xfrm>
          <a:prstGeom prst="rect">
            <a:avLst/>
          </a:prstGeom>
          <a:solidFill>
            <a:srgbClr val="3869C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rgbClr val="D8DCED"/>
              </a:solidFill>
              <a:effectLst/>
              <a:latin typeface="Helvetica Neue" pitchFamily="-112" charset="0"/>
            </a:endParaRPr>
          </a:p>
        </p:txBody>
      </p:sp>
      <p:sp>
        <p:nvSpPr>
          <p:cNvPr id="8" name="Rettangolo 7">
            <a:extLst>
              <a:ext uri="{FF2B5EF4-FFF2-40B4-BE49-F238E27FC236}">
                <a16:creationId xmlns:a16="http://schemas.microsoft.com/office/drawing/2014/main" id="{4F39FC33-9B48-F1FB-9B99-2C670599A1BE}"/>
              </a:ext>
            </a:extLst>
          </p:cNvPr>
          <p:cNvSpPr>
            <a:spLocks noChangeAspect="1"/>
          </p:cNvSpPr>
          <p:nvPr/>
        </p:nvSpPr>
        <p:spPr bwMode="auto">
          <a:xfrm>
            <a:off x="-25626" y="1148001"/>
            <a:ext cx="1386759" cy="45914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it-IT" sz="1400" b="1" i="0" u="none" strike="noStrike" cap="none" normalizeH="0" baseline="0" dirty="0">
                <a:ln>
                  <a:noFill/>
                </a:ln>
                <a:solidFill>
                  <a:srgbClr val="00396F"/>
                </a:solidFill>
                <a:effectLst/>
                <a:latin typeface="Arial" panose="020B0604020202020204" pitchFamily="34" charset="0"/>
                <a:cs typeface="Arial" panose="020B0604020202020204" pitchFamily="34" charset="0"/>
              </a:rPr>
              <a:t>1</a:t>
            </a:r>
          </a:p>
        </p:txBody>
      </p:sp>
      <p:cxnSp>
        <p:nvCxnSpPr>
          <p:cNvPr id="15" name="Connettore diritto 14">
            <a:extLst>
              <a:ext uri="{FF2B5EF4-FFF2-40B4-BE49-F238E27FC236}">
                <a16:creationId xmlns:a16="http://schemas.microsoft.com/office/drawing/2014/main" id="{3D547CE2-0BCF-E992-460A-C9CBEC56EA98}"/>
              </a:ext>
            </a:extLst>
          </p:cNvPr>
          <p:cNvCxnSpPr>
            <a:cxnSpLocks/>
          </p:cNvCxnSpPr>
          <p:nvPr/>
        </p:nvCxnSpPr>
        <p:spPr bwMode="auto">
          <a:xfrm>
            <a:off x="1379822" y="1106713"/>
            <a:ext cx="0" cy="495300"/>
          </a:xfrm>
          <a:prstGeom prst="line">
            <a:avLst/>
          </a:prstGeom>
          <a:ln w="38100">
            <a:solidFill>
              <a:srgbClr val="3869C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2" name="CasellaDiTesto 21">
            <a:extLst>
              <a:ext uri="{FF2B5EF4-FFF2-40B4-BE49-F238E27FC236}">
                <a16:creationId xmlns:a16="http://schemas.microsoft.com/office/drawing/2014/main" id="{DB7F0863-14C6-A3E8-5E42-80B60D179E35}"/>
              </a:ext>
            </a:extLst>
          </p:cNvPr>
          <p:cNvSpPr txBox="1"/>
          <p:nvPr/>
        </p:nvSpPr>
        <p:spPr>
          <a:xfrm>
            <a:off x="1433855" y="1237696"/>
            <a:ext cx="5083406" cy="306559"/>
          </a:xfrm>
          <a:prstGeom prst="rect">
            <a:avLst/>
          </a:prstGeom>
          <a:noFill/>
        </p:spPr>
        <p:txBody>
          <a:bodyPr wrap="square" rtlCol="0">
            <a:spAutoFit/>
          </a:bodyPr>
          <a:lstStyle/>
          <a:p>
            <a:pPr>
              <a:lnSpc>
                <a:spcPct val="87000"/>
              </a:lnSpc>
            </a:pPr>
            <a:r>
              <a:rPr lang="it-IT" sz="1600" b="1" dirty="0" err="1">
                <a:solidFill>
                  <a:srgbClr val="00396F"/>
                </a:solidFill>
                <a:latin typeface="Arial" panose="020B0604020202020204" pitchFamily="34" charset="0"/>
                <a:cs typeface="Arial" panose="020B0604020202020204" pitchFamily="34" charset="0"/>
              </a:rPr>
              <a:t>Objective</a:t>
            </a:r>
            <a:r>
              <a:rPr lang="it-IT" sz="1600" b="1" dirty="0">
                <a:solidFill>
                  <a:srgbClr val="00396F"/>
                </a:solidFill>
                <a:latin typeface="Arial" panose="020B0604020202020204" pitchFamily="34" charset="0"/>
                <a:cs typeface="Arial" panose="020B0604020202020204" pitchFamily="34" charset="0"/>
              </a:rPr>
              <a:t> of the </a:t>
            </a:r>
            <a:r>
              <a:rPr lang="it-IT" sz="1600" b="1" dirty="0" err="1">
                <a:solidFill>
                  <a:srgbClr val="00396F"/>
                </a:solidFill>
                <a:latin typeface="Arial" panose="020B0604020202020204" pitchFamily="34" charset="0"/>
                <a:cs typeface="Arial" panose="020B0604020202020204" pitchFamily="34" charset="0"/>
              </a:rPr>
              <a:t>thesis</a:t>
            </a:r>
            <a:endParaRPr lang="it-IT" sz="1600" b="1" dirty="0">
              <a:solidFill>
                <a:srgbClr val="00396F"/>
              </a:solidFill>
              <a:latin typeface="Arial" panose="020B0604020202020204" pitchFamily="34" charset="0"/>
              <a:cs typeface="Arial" panose="020B0604020202020204" pitchFamily="34" charset="0"/>
            </a:endParaRPr>
          </a:p>
        </p:txBody>
      </p:sp>
      <p:grpSp>
        <p:nvGrpSpPr>
          <p:cNvPr id="32" name="Gruppo 31">
            <a:extLst>
              <a:ext uri="{FF2B5EF4-FFF2-40B4-BE49-F238E27FC236}">
                <a16:creationId xmlns:a16="http://schemas.microsoft.com/office/drawing/2014/main" id="{B8B5154D-C375-56C2-753F-42BCA2613621}"/>
              </a:ext>
            </a:extLst>
          </p:cNvPr>
          <p:cNvGrpSpPr/>
          <p:nvPr/>
        </p:nvGrpSpPr>
        <p:grpSpPr>
          <a:xfrm>
            <a:off x="28429" y="1938373"/>
            <a:ext cx="1351393" cy="521253"/>
            <a:chOff x="28429" y="2003688"/>
            <a:chExt cx="1351393" cy="521253"/>
          </a:xfrm>
        </p:grpSpPr>
        <p:cxnSp>
          <p:nvCxnSpPr>
            <p:cNvPr id="16" name="Connettore diritto 15">
              <a:extLst>
                <a:ext uri="{FF2B5EF4-FFF2-40B4-BE49-F238E27FC236}">
                  <a16:creationId xmlns:a16="http://schemas.microsoft.com/office/drawing/2014/main" id="{35DE2FE2-6BCF-1E74-902D-2D44316C323A}"/>
                </a:ext>
              </a:extLst>
            </p:cNvPr>
            <p:cNvCxnSpPr>
              <a:cxnSpLocks/>
            </p:cNvCxnSpPr>
            <p:nvPr/>
          </p:nvCxnSpPr>
          <p:spPr bwMode="auto">
            <a:xfrm>
              <a:off x="1379822" y="2003688"/>
              <a:ext cx="0" cy="495300"/>
            </a:xfrm>
            <a:prstGeom prst="line">
              <a:avLst/>
            </a:prstGeom>
            <a:ln w="38100">
              <a:solidFill>
                <a:srgbClr val="3869C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6" name="Rettangolo 5">
              <a:extLst>
                <a:ext uri="{FF2B5EF4-FFF2-40B4-BE49-F238E27FC236}">
                  <a16:creationId xmlns:a16="http://schemas.microsoft.com/office/drawing/2014/main" id="{33839D40-5A0B-85BC-369F-79EE806DDDA3}"/>
                </a:ext>
              </a:extLst>
            </p:cNvPr>
            <p:cNvSpPr>
              <a:spLocks noChangeAspect="1"/>
            </p:cNvSpPr>
            <p:nvPr/>
          </p:nvSpPr>
          <p:spPr bwMode="auto">
            <a:xfrm>
              <a:off x="28429" y="2029641"/>
              <a:ext cx="1278648" cy="4953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it-IT" sz="1400" b="1" i="0" u="none" strike="noStrike" cap="none" normalizeH="0" baseline="0" dirty="0">
                  <a:ln>
                    <a:noFill/>
                  </a:ln>
                  <a:solidFill>
                    <a:srgbClr val="00396F"/>
                  </a:solidFill>
                  <a:effectLst/>
                  <a:latin typeface="Helvetica Neue" pitchFamily="-112" charset="0"/>
                </a:rPr>
                <a:t>2</a:t>
              </a:r>
            </a:p>
          </p:txBody>
        </p:sp>
      </p:grpSp>
      <p:grpSp>
        <p:nvGrpSpPr>
          <p:cNvPr id="27" name="Gruppo 26">
            <a:extLst>
              <a:ext uri="{FF2B5EF4-FFF2-40B4-BE49-F238E27FC236}">
                <a16:creationId xmlns:a16="http://schemas.microsoft.com/office/drawing/2014/main" id="{0E56C028-EAA9-586E-298E-A8EEAF5F342F}"/>
              </a:ext>
            </a:extLst>
          </p:cNvPr>
          <p:cNvGrpSpPr/>
          <p:nvPr/>
        </p:nvGrpSpPr>
        <p:grpSpPr>
          <a:xfrm>
            <a:off x="-25626" y="3708637"/>
            <a:ext cx="1405448" cy="896384"/>
            <a:chOff x="-25626" y="3795724"/>
            <a:chExt cx="1405448" cy="896384"/>
          </a:xfrm>
        </p:grpSpPr>
        <p:cxnSp>
          <p:nvCxnSpPr>
            <p:cNvPr id="18" name="Connettore diritto 17">
              <a:extLst>
                <a:ext uri="{FF2B5EF4-FFF2-40B4-BE49-F238E27FC236}">
                  <a16:creationId xmlns:a16="http://schemas.microsoft.com/office/drawing/2014/main" id="{494FC8E4-6C90-FCEF-D39B-369B7A5F0AEE}"/>
                </a:ext>
              </a:extLst>
            </p:cNvPr>
            <p:cNvCxnSpPr>
              <a:cxnSpLocks/>
            </p:cNvCxnSpPr>
            <p:nvPr/>
          </p:nvCxnSpPr>
          <p:spPr bwMode="auto">
            <a:xfrm>
              <a:off x="1379822" y="4006071"/>
              <a:ext cx="0" cy="495300"/>
            </a:xfrm>
            <a:prstGeom prst="line">
              <a:avLst/>
            </a:prstGeom>
            <a:ln w="38100">
              <a:solidFill>
                <a:srgbClr val="3869C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3" name="Rettangolo 12">
              <a:extLst>
                <a:ext uri="{FF2B5EF4-FFF2-40B4-BE49-F238E27FC236}">
                  <a16:creationId xmlns:a16="http://schemas.microsoft.com/office/drawing/2014/main" id="{E25CFA84-578B-1744-C58A-25DE0956E30E}"/>
                </a:ext>
              </a:extLst>
            </p:cNvPr>
            <p:cNvSpPr>
              <a:spLocks noChangeAspect="1"/>
            </p:cNvSpPr>
            <p:nvPr/>
          </p:nvSpPr>
          <p:spPr bwMode="auto">
            <a:xfrm>
              <a:off x="-25626" y="3795724"/>
              <a:ext cx="1386759" cy="896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it-IT" sz="1400" b="1" i="0" u="none" strike="noStrike" cap="none" normalizeH="0" baseline="0" dirty="0">
                  <a:ln>
                    <a:noFill/>
                  </a:ln>
                  <a:solidFill>
                    <a:srgbClr val="00396F"/>
                  </a:solidFill>
                  <a:effectLst/>
                  <a:latin typeface="Arial" panose="020B0604020202020204" pitchFamily="34" charset="0"/>
                  <a:cs typeface="Arial" panose="020B0604020202020204" pitchFamily="34" charset="0"/>
                </a:rPr>
                <a:t>4</a:t>
              </a:r>
            </a:p>
          </p:txBody>
        </p:sp>
      </p:grpSp>
      <p:sp>
        <p:nvSpPr>
          <p:cNvPr id="9" name="Rettangolo 8">
            <a:extLst>
              <a:ext uri="{FF2B5EF4-FFF2-40B4-BE49-F238E27FC236}">
                <a16:creationId xmlns:a16="http://schemas.microsoft.com/office/drawing/2014/main" id="{F84947CB-4D93-DEC7-CF7A-6C043DAAB835}"/>
              </a:ext>
            </a:extLst>
          </p:cNvPr>
          <p:cNvSpPr>
            <a:spLocks noChangeAspect="1"/>
          </p:cNvSpPr>
          <p:nvPr/>
        </p:nvSpPr>
        <p:spPr bwMode="auto">
          <a:xfrm>
            <a:off x="-25626" y="3122079"/>
            <a:ext cx="1386759" cy="896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400" b="1" i="0" u="none" strike="noStrike" cap="none" normalizeH="0" baseline="0" dirty="0">
              <a:ln>
                <a:noFill/>
              </a:ln>
              <a:solidFill>
                <a:srgbClr val="00396F"/>
              </a:solidFill>
              <a:effectLst/>
              <a:latin typeface="Arial" panose="020B0604020202020204" pitchFamily="34" charset="0"/>
              <a:cs typeface="Arial" panose="020B0604020202020204" pitchFamily="34" charset="0"/>
            </a:endParaRPr>
          </a:p>
        </p:txBody>
      </p:sp>
      <p:grpSp>
        <p:nvGrpSpPr>
          <p:cNvPr id="28" name="Gruppo 27">
            <a:extLst>
              <a:ext uri="{FF2B5EF4-FFF2-40B4-BE49-F238E27FC236}">
                <a16:creationId xmlns:a16="http://schemas.microsoft.com/office/drawing/2014/main" id="{19CC346C-82EE-F015-9885-D308E61ED40D}"/>
              </a:ext>
            </a:extLst>
          </p:cNvPr>
          <p:cNvGrpSpPr/>
          <p:nvPr/>
        </p:nvGrpSpPr>
        <p:grpSpPr>
          <a:xfrm>
            <a:off x="-25627" y="2780296"/>
            <a:ext cx="1405449" cy="792000"/>
            <a:chOff x="-25627" y="2921813"/>
            <a:chExt cx="1405449" cy="792000"/>
          </a:xfrm>
        </p:grpSpPr>
        <p:cxnSp>
          <p:nvCxnSpPr>
            <p:cNvPr id="17" name="Connettore diritto 16">
              <a:extLst>
                <a:ext uri="{FF2B5EF4-FFF2-40B4-BE49-F238E27FC236}">
                  <a16:creationId xmlns:a16="http://schemas.microsoft.com/office/drawing/2014/main" id="{F23D232D-ABCC-F5C2-CD2D-137BCDF2BF99}"/>
                </a:ext>
              </a:extLst>
            </p:cNvPr>
            <p:cNvCxnSpPr>
              <a:cxnSpLocks/>
            </p:cNvCxnSpPr>
            <p:nvPr/>
          </p:nvCxnSpPr>
          <p:spPr bwMode="auto">
            <a:xfrm>
              <a:off x="1379822" y="2921813"/>
              <a:ext cx="0" cy="792000"/>
            </a:xfrm>
            <a:prstGeom prst="line">
              <a:avLst/>
            </a:prstGeom>
            <a:ln w="38100">
              <a:solidFill>
                <a:srgbClr val="3869C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2" name="Rettangolo 11">
              <a:extLst>
                <a:ext uri="{FF2B5EF4-FFF2-40B4-BE49-F238E27FC236}">
                  <a16:creationId xmlns:a16="http://schemas.microsoft.com/office/drawing/2014/main" id="{EE83DEDA-9C7A-1D98-96CE-F719403B1579}"/>
                </a:ext>
              </a:extLst>
            </p:cNvPr>
            <p:cNvSpPr>
              <a:spLocks noChangeAspect="1"/>
            </p:cNvSpPr>
            <p:nvPr/>
          </p:nvSpPr>
          <p:spPr bwMode="auto">
            <a:xfrm>
              <a:off x="-25627" y="3183578"/>
              <a:ext cx="1386759" cy="23037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it-IT" sz="1400" b="1" dirty="0">
                  <a:solidFill>
                    <a:srgbClr val="00396F"/>
                  </a:solidFill>
                  <a:latin typeface="Helvetica Neue" pitchFamily="-112" charset="0"/>
                </a:rPr>
                <a:t>3</a:t>
              </a:r>
              <a:endParaRPr kumimoji="0" lang="it-IT" sz="1400" b="1" i="0" u="none" strike="noStrike" cap="none" normalizeH="0" baseline="0" dirty="0">
                <a:ln>
                  <a:noFill/>
                </a:ln>
                <a:solidFill>
                  <a:srgbClr val="00396F"/>
                </a:solidFill>
                <a:effectLst/>
                <a:latin typeface="Helvetica Neue" pitchFamily="-112" charset="0"/>
              </a:endParaRPr>
            </a:p>
          </p:txBody>
        </p:sp>
      </p:grpSp>
      <p:grpSp>
        <p:nvGrpSpPr>
          <p:cNvPr id="11" name="Gruppo 10">
            <a:extLst>
              <a:ext uri="{FF2B5EF4-FFF2-40B4-BE49-F238E27FC236}">
                <a16:creationId xmlns:a16="http://schemas.microsoft.com/office/drawing/2014/main" id="{0CF4E3DE-E4D3-FA23-64C3-ADA771ECB770}"/>
              </a:ext>
            </a:extLst>
          </p:cNvPr>
          <p:cNvGrpSpPr/>
          <p:nvPr/>
        </p:nvGrpSpPr>
        <p:grpSpPr>
          <a:xfrm>
            <a:off x="0" y="4547729"/>
            <a:ext cx="1393873" cy="896384"/>
            <a:chOff x="0" y="4547729"/>
            <a:chExt cx="1393873" cy="896384"/>
          </a:xfrm>
        </p:grpSpPr>
        <p:cxnSp>
          <p:nvCxnSpPr>
            <p:cNvPr id="29" name="Connettore diritto 28">
              <a:extLst>
                <a:ext uri="{FF2B5EF4-FFF2-40B4-BE49-F238E27FC236}">
                  <a16:creationId xmlns:a16="http://schemas.microsoft.com/office/drawing/2014/main" id="{659C9D65-6DE9-0A3D-2DF7-E6885AFDC7D8}"/>
                </a:ext>
              </a:extLst>
            </p:cNvPr>
            <p:cNvCxnSpPr>
              <a:cxnSpLocks/>
            </p:cNvCxnSpPr>
            <p:nvPr/>
          </p:nvCxnSpPr>
          <p:spPr bwMode="auto">
            <a:xfrm>
              <a:off x="1393873" y="4758076"/>
              <a:ext cx="0" cy="495300"/>
            </a:xfrm>
            <a:prstGeom prst="line">
              <a:avLst/>
            </a:prstGeom>
            <a:ln w="38100">
              <a:solidFill>
                <a:srgbClr val="3869C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31" name="Rettangolo 30">
              <a:extLst>
                <a:ext uri="{FF2B5EF4-FFF2-40B4-BE49-F238E27FC236}">
                  <a16:creationId xmlns:a16="http://schemas.microsoft.com/office/drawing/2014/main" id="{165AC27F-850B-8DB4-AA88-68347870E9BB}"/>
                </a:ext>
              </a:extLst>
            </p:cNvPr>
            <p:cNvSpPr>
              <a:spLocks noChangeAspect="1"/>
            </p:cNvSpPr>
            <p:nvPr/>
          </p:nvSpPr>
          <p:spPr bwMode="auto">
            <a:xfrm>
              <a:off x="0" y="4547729"/>
              <a:ext cx="1386759" cy="89638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it-IT" sz="1400" b="1" i="0" u="none" strike="noStrike" cap="none" normalizeH="0" baseline="0" dirty="0">
                  <a:ln>
                    <a:noFill/>
                  </a:ln>
                  <a:solidFill>
                    <a:srgbClr val="00396F"/>
                  </a:solidFill>
                  <a:effectLst/>
                  <a:latin typeface="Arial" panose="020B0604020202020204" pitchFamily="34" charset="0"/>
                  <a:cs typeface="Arial" panose="020B0604020202020204" pitchFamily="34" charset="0"/>
                </a:rPr>
                <a:t>5</a:t>
              </a:r>
            </a:p>
          </p:txBody>
        </p:sp>
      </p:grpSp>
      <p:sp>
        <p:nvSpPr>
          <p:cNvPr id="34" name="CasellaDiTesto 33">
            <a:extLst>
              <a:ext uri="{FF2B5EF4-FFF2-40B4-BE49-F238E27FC236}">
                <a16:creationId xmlns:a16="http://schemas.microsoft.com/office/drawing/2014/main" id="{B877A5AC-CF0D-582E-0F2B-C37D4E879DE4}"/>
              </a:ext>
            </a:extLst>
          </p:cNvPr>
          <p:cNvSpPr txBox="1"/>
          <p:nvPr/>
        </p:nvSpPr>
        <p:spPr>
          <a:xfrm>
            <a:off x="1433855" y="2039804"/>
            <a:ext cx="5083406" cy="306559"/>
          </a:xfrm>
          <a:prstGeom prst="rect">
            <a:avLst/>
          </a:prstGeom>
          <a:noFill/>
        </p:spPr>
        <p:txBody>
          <a:bodyPr wrap="square" rtlCol="0">
            <a:spAutoFit/>
          </a:bodyPr>
          <a:lstStyle/>
          <a:p>
            <a:pPr>
              <a:lnSpc>
                <a:spcPct val="87000"/>
              </a:lnSpc>
            </a:pPr>
            <a:r>
              <a:rPr lang="it-IT" sz="1600" b="1" dirty="0" err="1">
                <a:solidFill>
                  <a:srgbClr val="00396F"/>
                </a:solidFill>
                <a:latin typeface="Arial" panose="020B0604020202020204" pitchFamily="34" charset="0"/>
                <a:cs typeface="Arial" panose="020B0604020202020204" pitchFamily="34" charset="0"/>
              </a:rPr>
              <a:t>What</a:t>
            </a:r>
            <a:r>
              <a:rPr lang="it-IT" sz="1600" b="1" dirty="0">
                <a:solidFill>
                  <a:srgbClr val="00396F"/>
                </a:solidFill>
                <a:latin typeface="Arial" panose="020B0604020202020204" pitchFamily="34" charset="0"/>
                <a:cs typeface="Arial" panose="020B0604020202020204" pitchFamily="34" charset="0"/>
              </a:rPr>
              <a:t> </a:t>
            </a:r>
            <a:r>
              <a:rPr lang="it-IT" sz="1600" b="1" dirty="0" err="1">
                <a:solidFill>
                  <a:srgbClr val="00396F"/>
                </a:solidFill>
                <a:latin typeface="Arial" panose="020B0604020202020204" pitchFamily="34" charset="0"/>
                <a:cs typeface="Arial" panose="020B0604020202020204" pitchFamily="34" charset="0"/>
              </a:rPr>
              <a:t>is</a:t>
            </a:r>
            <a:r>
              <a:rPr lang="it-IT" sz="1600" b="1" dirty="0">
                <a:solidFill>
                  <a:srgbClr val="00396F"/>
                </a:solidFill>
                <a:latin typeface="Arial" panose="020B0604020202020204" pitchFamily="34" charset="0"/>
                <a:cs typeface="Arial" panose="020B0604020202020204" pitchFamily="34" charset="0"/>
              </a:rPr>
              <a:t> sentiment </a:t>
            </a:r>
            <a:r>
              <a:rPr lang="it-IT" sz="1600" b="1" dirty="0" err="1">
                <a:solidFill>
                  <a:srgbClr val="00396F"/>
                </a:solidFill>
                <a:latin typeface="Arial" panose="020B0604020202020204" pitchFamily="34" charset="0"/>
                <a:cs typeface="Arial" panose="020B0604020202020204" pitchFamily="34" charset="0"/>
              </a:rPr>
              <a:t>analysis</a:t>
            </a:r>
            <a:r>
              <a:rPr lang="it-IT" sz="1600" b="1" dirty="0">
                <a:solidFill>
                  <a:srgbClr val="00396F"/>
                </a:solidFill>
                <a:latin typeface="Arial" panose="020B0604020202020204" pitchFamily="34" charset="0"/>
                <a:cs typeface="Arial" panose="020B0604020202020204" pitchFamily="34" charset="0"/>
              </a:rPr>
              <a:t>?</a:t>
            </a:r>
          </a:p>
        </p:txBody>
      </p:sp>
      <p:sp>
        <p:nvSpPr>
          <p:cNvPr id="35" name="CasellaDiTesto 34">
            <a:extLst>
              <a:ext uri="{FF2B5EF4-FFF2-40B4-BE49-F238E27FC236}">
                <a16:creationId xmlns:a16="http://schemas.microsoft.com/office/drawing/2014/main" id="{56E28377-2E1F-6472-C258-1B3A99162044}"/>
              </a:ext>
            </a:extLst>
          </p:cNvPr>
          <p:cNvSpPr txBox="1"/>
          <p:nvPr/>
        </p:nvSpPr>
        <p:spPr>
          <a:xfrm>
            <a:off x="1433854" y="3017368"/>
            <a:ext cx="5342857" cy="306559"/>
          </a:xfrm>
          <a:prstGeom prst="rect">
            <a:avLst/>
          </a:prstGeom>
          <a:noFill/>
        </p:spPr>
        <p:txBody>
          <a:bodyPr wrap="square" rtlCol="0">
            <a:spAutoFit/>
          </a:bodyPr>
          <a:lstStyle/>
          <a:p>
            <a:pPr>
              <a:lnSpc>
                <a:spcPct val="87000"/>
              </a:lnSpc>
            </a:pPr>
            <a:r>
              <a:rPr lang="en-US" sz="1600" b="1" dirty="0">
                <a:solidFill>
                  <a:srgbClr val="00396F"/>
                </a:solidFill>
                <a:latin typeface="Arial" panose="020B0604020202020204" pitchFamily="34" charset="0"/>
                <a:cs typeface="Arial" panose="020B0604020202020204" pitchFamily="34" charset="0"/>
              </a:rPr>
              <a:t>Multimodal aspect based sentiment analysis MABSA</a:t>
            </a:r>
            <a:endParaRPr lang="it-IT" sz="1600" b="1" dirty="0">
              <a:solidFill>
                <a:srgbClr val="00396F"/>
              </a:solidFill>
              <a:latin typeface="Arial" panose="020B0604020202020204" pitchFamily="34" charset="0"/>
              <a:cs typeface="Arial" panose="020B0604020202020204" pitchFamily="34" charset="0"/>
            </a:endParaRPr>
          </a:p>
        </p:txBody>
      </p:sp>
      <p:sp>
        <p:nvSpPr>
          <p:cNvPr id="36" name="CasellaDiTesto 35">
            <a:extLst>
              <a:ext uri="{FF2B5EF4-FFF2-40B4-BE49-F238E27FC236}">
                <a16:creationId xmlns:a16="http://schemas.microsoft.com/office/drawing/2014/main" id="{DB4650BC-2D79-CE47-ABC3-662FE83ABA66}"/>
              </a:ext>
            </a:extLst>
          </p:cNvPr>
          <p:cNvSpPr txBox="1"/>
          <p:nvPr/>
        </p:nvSpPr>
        <p:spPr>
          <a:xfrm>
            <a:off x="1433855" y="4028471"/>
            <a:ext cx="5083406" cy="306559"/>
          </a:xfrm>
          <a:prstGeom prst="rect">
            <a:avLst/>
          </a:prstGeom>
          <a:noFill/>
        </p:spPr>
        <p:txBody>
          <a:bodyPr wrap="square" rtlCol="0">
            <a:spAutoFit/>
          </a:bodyPr>
          <a:lstStyle/>
          <a:p>
            <a:pPr>
              <a:lnSpc>
                <a:spcPct val="87000"/>
              </a:lnSpc>
            </a:pPr>
            <a:r>
              <a:rPr lang="it-IT" sz="1600" b="1" dirty="0" err="1">
                <a:solidFill>
                  <a:srgbClr val="00396F"/>
                </a:solidFill>
                <a:latin typeface="Arial" panose="020B0604020202020204" pitchFamily="34" charset="0"/>
                <a:cs typeface="Arial" panose="020B0604020202020204" pitchFamily="34" charset="0"/>
              </a:rPr>
              <a:t>Objective</a:t>
            </a:r>
            <a:r>
              <a:rPr lang="it-IT" sz="1600" b="1" dirty="0">
                <a:solidFill>
                  <a:srgbClr val="00396F"/>
                </a:solidFill>
                <a:latin typeface="Arial" panose="020B0604020202020204" pitchFamily="34" charset="0"/>
                <a:cs typeface="Arial" panose="020B0604020202020204" pitchFamily="34" charset="0"/>
              </a:rPr>
              <a:t> of the </a:t>
            </a:r>
            <a:r>
              <a:rPr lang="it-IT" sz="1600" b="1" dirty="0" err="1">
                <a:solidFill>
                  <a:srgbClr val="00396F"/>
                </a:solidFill>
                <a:latin typeface="Arial" panose="020B0604020202020204" pitchFamily="34" charset="0"/>
                <a:cs typeface="Arial" panose="020B0604020202020204" pitchFamily="34" charset="0"/>
              </a:rPr>
              <a:t>thesis</a:t>
            </a:r>
            <a:endParaRPr lang="it-IT" sz="1600" b="1" dirty="0">
              <a:solidFill>
                <a:srgbClr val="00396F"/>
              </a:solidFill>
              <a:latin typeface="Arial" panose="020B0604020202020204" pitchFamily="34" charset="0"/>
              <a:cs typeface="Arial" panose="020B0604020202020204" pitchFamily="34" charset="0"/>
            </a:endParaRPr>
          </a:p>
        </p:txBody>
      </p:sp>
      <p:sp>
        <p:nvSpPr>
          <p:cNvPr id="37" name="CasellaDiTesto 36">
            <a:extLst>
              <a:ext uri="{FF2B5EF4-FFF2-40B4-BE49-F238E27FC236}">
                <a16:creationId xmlns:a16="http://schemas.microsoft.com/office/drawing/2014/main" id="{E617F628-ED94-D003-D863-F0DF64C1403C}"/>
              </a:ext>
            </a:extLst>
          </p:cNvPr>
          <p:cNvSpPr txBox="1"/>
          <p:nvPr/>
        </p:nvSpPr>
        <p:spPr>
          <a:xfrm>
            <a:off x="1433855" y="4865847"/>
            <a:ext cx="5083406" cy="306559"/>
          </a:xfrm>
          <a:prstGeom prst="rect">
            <a:avLst/>
          </a:prstGeom>
          <a:noFill/>
        </p:spPr>
        <p:txBody>
          <a:bodyPr wrap="square" rtlCol="0">
            <a:spAutoFit/>
          </a:bodyPr>
          <a:lstStyle/>
          <a:p>
            <a:pPr>
              <a:lnSpc>
                <a:spcPct val="87000"/>
              </a:lnSpc>
            </a:pPr>
            <a:r>
              <a:rPr lang="it-IT" sz="1600" b="1" dirty="0" err="1">
                <a:solidFill>
                  <a:srgbClr val="00396F"/>
                </a:solidFill>
                <a:latin typeface="Arial" panose="020B0604020202020204" pitchFamily="34" charset="0"/>
                <a:cs typeface="Arial" panose="020B0604020202020204" pitchFamily="34" charset="0"/>
              </a:rPr>
              <a:t>Objective</a:t>
            </a:r>
            <a:r>
              <a:rPr lang="it-IT" sz="1600" b="1" dirty="0">
                <a:solidFill>
                  <a:srgbClr val="00396F"/>
                </a:solidFill>
                <a:latin typeface="Arial" panose="020B0604020202020204" pitchFamily="34" charset="0"/>
                <a:cs typeface="Arial" panose="020B0604020202020204" pitchFamily="34" charset="0"/>
              </a:rPr>
              <a:t> of the </a:t>
            </a:r>
            <a:r>
              <a:rPr lang="it-IT" sz="1600" b="1" dirty="0" err="1">
                <a:solidFill>
                  <a:srgbClr val="00396F"/>
                </a:solidFill>
                <a:latin typeface="Arial" panose="020B0604020202020204" pitchFamily="34" charset="0"/>
                <a:cs typeface="Arial" panose="020B0604020202020204" pitchFamily="34" charset="0"/>
              </a:rPr>
              <a:t>thesis</a:t>
            </a:r>
            <a:endParaRPr lang="it-IT" sz="1600" b="1" dirty="0">
              <a:solidFill>
                <a:srgbClr val="00396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7754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E04106-CFF6-45BA-ADB6-695580D43E49}"/>
              </a:ext>
            </a:extLst>
          </p:cNvPr>
          <p:cNvGraphicFramePr>
            <a:graphicFrameLocks noChangeAspect="1"/>
          </p:cNvGraphicFramePr>
          <p:nvPr>
            <p:custDataLst>
              <p:tags r:id="rId1"/>
            </p:custDataLst>
            <p:extLst>
              <p:ext uri="{D42A27DB-BD31-4B8C-83A1-F6EECF244321}">
                <p14:modId xmlns:p14="http://schemas.microsoft.com/office/powerpoint/2010/main" val="410434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4" name="Object 3" hidden="1">
                        <a:extLst>
                          <a:ext uri="{FF2B5EF4-FFF2-40B4-BE49-F238E27FC236}">
                            <a16:creationId xmlns:a16="http://schemas.microsoft.com/office/drawing/2014/main" id="{ACE04106-CFF6-45BA-ADB6-695580D43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D1095CEF-973E-471D-BF98-C07DE2DFE4FA}"/>
              </a:ext>
            </a:extLst>
          </p:cNvPr>
          <p:cNvGrpSpPr/>
          <p:nvPr/>
        </p:nvGrpSpPr>
        <p:grpSpPr>
          <a:xfrm>
            <a:off x="657154" y="4270084"/>
            <a:ext cx="3027742" cy="2129835"/>
            <a:chOff x="657154" y="4188216"/>
            <a:chExt cx="3027742" cy="2129835"/>
          </a:xfrm>
        </p:grpSpPr>
        <p:pic>
          <p:nvPicPr>
            <p:cNvPr id="1026" name="Picture 2" descr="Research Icon 5256703">
              <a:extLst>
                <a:ext uri="{FF2B5EF4-FFF2-40B4-BE49-F238E27FC236}">
                  <a16:creationId xmlns:a16="http://schemas.microsoft.com/office/drawing/2014/main" id="{E3103772-2435-462C-ABAC-51811F8062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2225" y="4188216"/>
              <a:ext cx="1137600" cy="11376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5E14DDB-792E-43CB-84DB-017249465A8E}"/>
                </a:ext>
              </a:extLst>
            </p:cNvPr>
            <p:cNvSpPr txBox="1"/>
            <p:nvPr/>
          </p:nvSpPr>
          <p:spPr>
            <a:xfrm>
              <a:off x="657154" y="5240833"/>
              <a:ext cx="3027742" cy="1077218"/>
            </a:xfrm>
            <a:prstGeom prst="rect">
              <a:avLst/>
            </a:prstGeom>
            <a:noFill/>
          </p:spPr>
          <p:txBody>
            <a:bodyPr wrap="square">
              <a:spAutoFit/>
            </a:bodyPr>
            <a:lstStyle/>
            <a:p>
              <a:pPr algn="just"/>
              <a:r>
                <a:rPr lang="en-US" sz="1600" i="1" dirty="0">
                  <a:solidFill>
                    <a:srgbClr val="00396F"/>
                  </a:solidFill>
                </a:rPr>
                <a:t>I had to carry out research through the internet and through the teaching material to acquire  qualitative information.</a:t>
              </a:r>
            </a:p>
          </p:txBody>
        </p:sp>
      </p:grpSp>
      <p:sp>
        <p:nvSpPr>
          <p:cNvPr id="5" name="Rectangle: Rounded Corners 4">
            <a:extLst>
              <a:ext uri="{FF2B5EF4-FFF2-40B4-BE49-F238E27FC236}">
                <a16:creationId xmlns:a16="http://schemas.microsoft.com/office/drawing/2014/main" id="{59FA6C49-4F09-476B-83C6-6BC5E35B2CB4}"/>
              </a:ext>
            </a:extLst>
          </p:cNvPr>
          <p:cNvSpPr/>
          <p:nvPr/>
        </p:nvSpPr>
        <p:spPr>
          <a:xfrm>
            <a:off x="504188" y="1489439"/>
            <a:ext cx="11227076" cy="1510427"/>
          </a:xfrm>
          <a:prstGeom prst="roundRect">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a:p>
            <a:pPr algn="just"/>
            <a:r>
              <a:rPr lang="en-US" sz="1600" dirty="0">
                <a:solidFill>
                  <a:schemeClr val="bg1"/>
                </a:solidFill>
              </a:rPr>
              <a:t>This work wants to describe the approach whereby a large number of individuals (the "crowd") can actively participate in a company's creation and later in its innovation processes, following this question: </a:t>
            </a:r>
          </a:p>
          <a:p>
            <a:pPr algn="just"/>
            <a:endParaRPr lang="en-US" sz="1600" dirty="0">
              <a:solidFill>
                <a:schemeClr val="bg1"/>
              </a:solidFill>
            </a:endParaRPr>
          </a:p>
          <a:p>
            <a:pPr algn="ctr"/>
            <a:r>
              <a:rPr lang="en-US" sz="1600" i="1" dirty="0">
                <a:solidFill>
                  <a:schemeClr val="bg1"/>
                </a:solidFill>
              </a:rPr>
              <a:t>“Can the world of transportation be transformed by the crowd?”</a:t>
            </a:r>
          </a:p>
        </p:txBody>
      </p:sp>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err="1">
                <a:solidFill>
                  <a:srgbClr val="00396F"/>
                </a:solidFill>
                <a:latin typeface="+mn-lt"/>
                <a:cs typeface="Calibri"/>
              </a:rPr>
              <a:t>Research</a:t>
            </a:r>
            <a:r>
              <a:rPr lang="it-IT" sz="4000" b="1" spc="-5" dirty="0">
                <a:solidFill>
                  <a:srgbClr val="00396F"/>
                </a:solidFill>
                <a:latin typeface="+mn-lt"/>
                <a:cs typeface="Calibri"/>
              </a:rPr>
              <a:t> </a:t>
            </a:r>
            <a:r>
              <a:rPr lang="it-IT" sz="4000" b="1" spc="-5" dirty="0" err="1">
                <a:solidFill>
                  <a:srgbClr val="00396F"/>
                </a:solidFill>
                <a:latin typeface="+mn-lt"/>
                <a:cs typeface="Calibri"/>
              </a:rPr>
              <a:t>Question</a:t>
            </a:r>
            <a:r>
              <a:rPr lang="it-IT" sz="4000" b="1" spc="-5" dirty="0">
                <a:solidFill>
                  <a:srgbClr val="00396F"/>
                </a:solidFill>
                <a:latin typeface="+mn-lt"/>
                <a:cs typeface="Calibri"/>
              </a:rPr>
              <a:t> &amp; </a:t>
            </a:r>
            <a:r>
              <a:rPr lang="it-IT" sz="4000" b="1" spc="-5" dirty="0" err="1">
                <a:solidFill>
                  <a:srgbClr val="00396F"/>
                </a:solidFill>
                <a:latin typeface="+mn-lt"/>
                <a:cs typeface="Calibri"/>
              </a:rPr>
              <a:t>Methodology</a:t>
            </a:r>
            <a:endParaRPr sz="4000" dirty="0">
              <a:solidFill>
                <a:srgbClr val="BEBDBD"/>
              </a:solidFill>
            </a:endParaRPr>
          </a:p>
        </p:txBody>
      </p:sp>
      <p:sp>
        <p:nvSpPr>
          <p:cNvPr id="3" name="Slide Number Placeholder 6">
            <a:extLst>
              <a:ext uri="{FF2B5EF4-FFF2-40B4-BE49-F238E27FC236}">
                <a16:creationId xmlns:a16="http://schemas.microsoft.com/office/drawing/2014/main" id="{1238BAF2-F278-98E5-B413-1B754FEEA42E}"/>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7</a:t>
            </a:fld>
            <a:endParaRPr lang="en-GB" dirty="0">
              <a:solidFill>
                <a:srgbClr val="00396F"/>
              </a:solidFill>
              <a:latin typeface="Abadi" panose="020B0604020104020204" pitchFamily="34" charset="0"/>
            </a:endParaRPr>
          </a:p>
        </p:txBody>
      </p:sp>
      <p:cxnSp>
        <p:nvCxnSpPr>
          <p:cNvPr id="10" name="Straight Connector 9">
            <a:extLst>
              <a:ext uri="{FF2B5EF4-FFF2-40B4-BE49-F238E27FC236}">
                <a16:creationId xmlns:a16="http://schemas.microsoft.com/office/drawing/2014/main" id="{57F270FF-5121-4C31-878A-E325F6CB1E31}"/>
              </a:ext>
            </a:extLst>
          </p:cNvPr>
          <p:cNvCxnSpPr>
            <a:cxnSpLocks/>
          </p:cNvCxnSpPr>
          <p:nvPr/>
        </p:nvCxnSpPr>
        <p:spPr>
          <a:xfrm>
            <a:off x="318000" y="3198323"/>
            <a:ext cx="11556000" cy="0"/>
          </a:xfrm>
          <a:prstGeom prst="line">
            <a:avLst/>
          </a:prstGeom>
          <a:ln w="41275">
            <a:prstDash val="sysDash"/>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28974FA-1CC9-4B7C-AD5B-678FC70B9AFE}"/>
              </a:ext>
            </a:extLst>
          </p:cNvPr>
          <p:cNvGrpSpPr/>
          <p:nvPr/>
        </p:nvGrpSpPr>
        <p:grpSpPr>
          <a:xfrm>
            <a:off x="8338783" y="4271386"/>
            <a:ext cx="3522016" cy="1882312"/>
            <a:chOff x="8338783" y="4028691"/>
            <a:chExt cx="3522016" cy="1882312"/>
          </a:xfrm>
        </p:grpSpPr>
        <p:pic>
          <p:nvPicPr>
            <p:cNvPr id="1028" name="Picture 4" descr="company Icon 5241969">
              <a:extLst>
                <a:ext uri="{FF2B5EF4-FFF2-40B4-BE49-F238E27FC236}">
                  <a16:creationId xmlns:a16="http://schemas.microsoft.com/office/drawing/2014/main" id="{D623D117-EA2D-490E-AC9F-38801DE758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31642" y="4028691"/>
              <a:ext cx="1136298" cy="113629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1101F016-9B55-4173-9FE1-CDA90D75F7A0}"/>
                </a:ext>
              </a:extLst>
            </p:cNvPr>
            <p:cNvSpPr txBox="1"/>
            <p:nvPr/>
          </p:nvSpPr>
          <p:spPr>
            <a:xfrm>
              <a:off x="8338783" y="5080006"/>
              <a:ext cx="3522016" cy="830997"/>
            </a:xfrm>
            <a:prstGeom prst="rect">
              <a:avLst/>
            </a:prstGeom>
            <a:noFill/>
          </p:spPr>
          <p:txBody>
            <a:bodyPr wrap="square">
              <a:spAutoFit/>
            </a:bodyPr>
            <a:lstStyle/>
            <a:p>
              <a:pPr algn="just"/>
              <a:r>
                <a:rPr lang="en-US" sz="1600" i="1" dirty="0">
                  <a:solidFill>
                    <a:srgbClr val="00396F"/>
                  </a:solidFill>
                </a:rPr>
                <a:t>I have selected Hyperloop Transportation Technologies as the sample company for the study</a:t>
              </a:r>
            </a:p>
          </p:txBody>
        </p:sp>
      </p:grpSp>
      <p:grpSp>
        <p:nvGrpSpPr>
          <p:cNvPr id="16" name="Group 15">
            <a:extLst>
              <a:ext uri="{FF2B5EF4-FFF2-40B4-BE49-F238E27FC236}">
                <a16:creationId xmlns:a16="http://schemas.microsoft.com/office/drawing/2014/main" id="{A22E659B-2937-401E-8930-B6B2FDB742FF}"/>
              </a:ext>
            </a:extLst>
          </p:cNvPr>
          <p:cNvGrpSpPr/>
          <p:nvPr/>
        </p:nvGrpSpPr>
        <p:grpSpPr>
          <a:xfrm>
            <a:off x="4392375" y="4292239"/>
            <a:ext cx="3196682" cy="1861459"/>
            <a:chOff x="4343054" y="3925782"/>
            <a:chExt cx="3196682" cy="1861459"/>
          </a:xfrm>
        </p:grpSpPr>
        <p:sp>
          <p:nvSpPr>
            <p:cNvPr id="17" name="TextBox 16">
              <a:extLst>
                <a:ext uri="{FF2B5EF4-FFF2-40B4-BE49-F238E27FC236}">
                  <a16:creationId xmlns:a16="http://schemas.microsoft.com/office/drawing/2014/main" id="{E04EBF78-0CFB-4E1E-8AB7-88AB40C3FED0}"/>
                </a:ext>
              </a:extLst>
            </p:cNvPr>
            <p:cNvSpPr txBox="1"/>
            <p:nvPr/>
          </p:nvSpPr>
          <p:spPr>
            <a:xfrm>
              <a:off x="4343054" y="4956244"/>
              <a:ext cx="3196682" cy="830997"/>
            </a:xfrm>
            <a:prstGeom prst="rect">
              <a:avLst/>
            </a:prstGeom>
            <a:noFill/>
          </p:spPr>
          <p:txBody>
            <a:bodyPr wrap="square">
              <a:spAutoFit/>
            </a:bodyPr>
            <a:lstStyle/>
            <a:p>
              <a:pPr algn="just"/>
              <a:r>
                <a:rPr lang="en-US" sz="1600" i="1" dirty="0">
                  <a:solidFill>
                    <a:srgbClr val="00396F"/>
                  </a:solidFill>
                </a:rPr>
                <a:t>I have decided to carry out a case analysis through an explicit conceptual framework.</a:t>
              </a:r>
            </a:p>
          </p:txBody>
        </p:sp>
        <p:pic>
          <p:nvPicPr>
            <p:cNvPr id="1030" name="Picture 6" descr="Folder Icon 4644001">
              <a:extLst>
                <a:ext uri="{FF2B5EF4-FFF2-40B4-BE49-F238E27FC236}">
                  <a16:creationId xmlns:a16="http://schemas.microsoft.com/office/drawing/2014/main" id="{5C771B38-EE90-44DA-84CC-4792FFAFA0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72595" y="3925782"/>
              <a:ext cx="1137600" cy="1137600"/>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Rectangle: Rounded Corners 12">
            <a:extLst>
              <a:ext uri="{FF2B5EF4-FFF2-40B4-BE49-F238E27FC236}">
                <a16:creationId xmlns:a16="http://schemas.microsoft.com/office/drawing/2014/main" id="{A5731B63-7379-116B-46B8-299B6AFC69CB}"/>
              </a:ext>
            </a:extLst>
          </p:cNvPr>
          <p:cNvSpPr/>
          <p:nvPr/>
        </p:nvSpPr>
        <p:spPr>
          <a:xfrm>
            <a:off x="504188" y="3322754"/>
            <a:ext cx="11227076" cy="1077214"/>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rgbClr val="00396F"/>
                </a:solidFill>
              </a:rPr>
              <a:t>To answer the research question, this thesis adopts an exploratory in-depth single case study design, particularly suited to research new and fast-changing topics that have not been theoretically explored much. </a:t>
            </a:r>
          </a:p>
        </p:txBody>
      </p:sp>
    </p:spTree>
    <p:extLst>
      <p:ext uri="{BB962C8B-B14F-4D97-AF65-F5344CB8AC3E}">
        <p14:creationId xmlns:p14="http://schemas.microsoft.com/office/powerpoint/2010/main" val="3033048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015397-8BE7-45BF-BC66-008B25EB9CA2}"/>
              </a:ext>
            </a:extLst>
          </p:cNvPr>
          <p:cNvGraphicFramePr>
            <a:graphicFrameLocks noChangeAspect="1"/>
          </p:cNvGraphicFramePr>
          <p:nvPr>
            <p:custDataLst>
              <p:tags r:id="rId1"/>
            </p:custDataLst>
            <p:extLst>
              <p:ext uri="{D42A27DB-BD31-4B8C-83A1-F6EECF244321}">
                <p14:modId xmlns:p14="http://schemas.microsoft.com/office/powerpoint/2010/main" val="376770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7015397-8BE7-45BF-BC66-008B25EB9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a:solidFill>
                  <a:srgbClr val="00396F"/>
                </a:solidFill>
                <a:latin typeface="+mn-lt"/>
                <a:cs typeface="Calibri"/>
              </a:rPr>
              <a:t>Open Innovation</a:t>
            </a:r>
            <a:endParaRPr sz="4000" dirty="0">
              <a:solidFill>
                <a:srgbClr val="BEBDBD"/>
              </a:solidFill>
            </a:endParaRPr>
          </a:p>
        </p:txBody>
      </p:sp>
      <p:sp>
        <p:nvSpPr>
          <p:cNvPr id="3" name="Slide Number Placeholder 6">
            <a:extLst>
              <a:ext uri="{FF2B5EF4-FFF2-40B4-BE49-F238E27FC236}">
                <a16:creationId xmlns:a16="http://schemas.microsoft.com/office/drawing/2014/main" id="{F7E4FFE9-BC46-4500-BC7F-ECF796F0CC2D}"/>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8</a:t>
            </a:fld>
            <a:endParaRPr lang="en-GB" dirty="0">
              <a:solidFill>
                <a:srgbClr val="00396F"/>
              </a:solidFill>
              <a:latin typeface="Abadi" panose="020B0604020104020204" pitchFamily="34" charset="0"/>
            </a:endParaRPr>
          </a:p>
        </p:txBody>
      </p:sp>
      <p:pic>
        <p:nvPicPr>
          <p:cNvPr id="13314" name="Picture 2" descr="Open Innovation – What It Is and How to Do It">
            <a:extLst>
              <a:ext uri="{FF2B5EF4-FFF2-40B4-BE49-F238E27FC236}">
                <a16:creationId xmlns:a16="http://schemas.microsoft.com/office/drawing/2014/main" id="{40A8D310-E43D-4FEF-9493-F77B560D99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2194" y="4020118"/>
            <a:ext cx="4256679" cy="270135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a:extLst>
              <a:ext uri="{FF2B5EF4-FFF2-40B4-BE49-F238E27FC236}">
                <a16:creationId xmlns:a16="http://schemas.microsoft.com/office/drawing/2014/main" id="{9F6DA8EA-681F-22AD-5307-E24C821848C8}"/>
              </a:ext>
            </a:extLst>
          </p:cNvPr>
          <p:cNvSpPr>
            <a:spLocks noChangeArrowheads="1"/>
          </p:cNvSpPr>
          <p:nvPr/>
        </p:nvSpPr>
        <p:spPr bwMode="auto">
          <a:xfrm>
            <a:off x="655319" y="1146936"/>
            <a:ext cx="11355706" cy="295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endParaRPr lang="en-US" sz="1600" i="0" dirty="0">
              <a:solidFill>
                <a:srgbClr val="00396F"/>
              </a:solidFill>
              <a:effectLst/>
            </a:endParaRPr>
          </a:p>
          <a:p>
            <a:pPr marL="0" marR="0" lvl="0" indent="0" algn="just" defTabSz="914400" rtl="0" eaLnBrk="0" fontAlgn="base" latinLnBrk="0" hangingPunct="0">
              <a:lnSpc>
                <a:spcPct val="100000"/>
              </a:lnSpc>
              <a:spcBef>
                <a:spcPct val="0"/>
              </a:spcBef>
              <a:spcAft>
                <a:spcPct val="0"/>
              </a:spcAft>
              <a:buClrTx/>
              <a:buSzTx/>
              <a:buFontTx/>
              <a:buNone/>
              <a:tabLst/>
            </a:pPr>
            <a:r>
              <a:rPr lang="en-US" sz="1600" i="0" dirty="0">
                <a:solidFill>
                  <a:srgbClr val="00396F"/>
                </a:solidFill>
                <a:effectLst/>
              </a:rPr>
              <a:t>In the past, companies believed that to innovate successfully, they needed to </a:t>
            </a:r>
            <a:r>
              <a:rPr lang="en-US" sz="1600" b="1" i="0" dirty="0">
                <a:solidFill>
                  <a:srgbClr val="00396F"/>
                </a:solidFill>
                <a:effectLst/>
              </a:rPr>
              <a:t>invest</a:t>
            </a:r>
            <a:r>
              <a:rPr lang="en-US" sz="1600" i="0" dirty="0">
                <a:solidFill>
                  <a:srgbClr val="00396F"/>
                </a:solidFill>
                <a:effectLst/>
              </a:rPr>
              <a:t> a lot in </a:t>
            </a:r>
            <a:r>
              <a:rPr lang="en-US" sz="1600" b="1" i="0" dirty="0">
                <a:solidFill>
                  <a:srgbClr val="00396F"/>
                </a:solidFill>
                <a:effectLst/>
              </a:rPr>
              <a:t>their R&amp;D department </a:t>
            </a:r>
            <a:r>
              <a:rPr lang="en-US" sz="1600" i="0" dirty="0">
                <a:solidFill>
                  <a:srgbClr val="00396F"/>
                </a:solidFill>
                <a:effectLst/>
              </a:rPr>
              <a:t>to control and </a:t>
            </a:r>
            <a:r>
              <a:rPr lang="en-US" sz="1600" dirty="0">
                <a:solidFill>
                  <a:srgbClr val="00396F"/>
                </a:solidFill>
              </a:rPr>
              <a:t>h</a:t>
            </a:r>
            <a:r>
              <a:rPr lang="en-US" sz="1600" i="0" dirty="0">
                <a:solidFill>
                  <a:srgbClr val="00396F"/>
                </a:solidFill>
                <a:effectLst/>
              </a:rPr>
              <a:t>ave in-house the resources and skills necessary to gain a competitive advantage. So, in the traditional paradigm of "closed innovation," businesses followed the following philosophy: </a:t>
            </a:r>
            <a:r>
              <a:rPr lang="en-US" sz="1600" i="1" dirty="0">
                <a:solidFill>
                  <a:srgbClr val="00396F"/>
                </a:solidFill>
                <a:effectLst/>
              </a:rPr>
              <a:t>"Successful innovation necessitates control</a:t>
            </a:r>
            <a:r>
              <a:rPr lang="en-US" sz="1600" i="0" dirty="0">
                <a:solidFill>
                  <a:srgbClr val="00396F"/>
                </a:solidFill>
                <a:effectLst/>
              </a:rPr>
              <a:t>”  which means that businesses must produce their ideas. </a:t>
            </a:r>
          </a:p>
          <a:p>
            <a:pPr marL="0" marR="0" lvl="0" indent="0" algn="just" defTabSz="914400" rtl="0" eaLnBrk="0" fontAlgn="base" latinLnBrk="0" hangingPunct="0">
              <a:lnSpc>
                <a:spcPct val="100000"/>
              </a:lnSpc>
              <a:spcBef>
                <a:spcPct val="0"/>
              </a:spcBef>
              <a:spcAft>
                <a:spcPct val="0"/>
              </a:spcAft>
              <a:buClrTx/>
              <a:buSzTx/>
              <a:buFontTx/>
              <a:buNone/>
              <a:tabLst/>
            </a:pPr>
            <a:endParaRPr lang="en-US" sz="1600" dirty="0">
              <a:solidFill>
                <a:srgbClr val="00396F"/>
              </a:solidFill>
            </a:endParaRPr>
          </a:p>
          <a:p>
            <a:pPr marL="0" marR="0" lvl="0" indent="0" algn="just" defTabSz="914400" rtl="0" eaLnBrk="0" fontAlgn="base" latinLnBrk="0" hangingPunct="0">
              <a:lnSpc>
                <a:spcPct val="100000"/>
              </a:lnSpc>
              <a:spcBef>
                <a:spcPct val="0"/>
              </a:spcBef>
              <a:spcAft>
                <a:spcPct val="0"/>
              </a:spcAft>
              <a:buClrTx/>
              <a:buSzTx/>
              <a:buFontTx/>
              <a:buNone/>
              <a:tabLst/>
            </a:pPr>
            <a:r>
              <a:rPr lang="en-US" sz="1600" i="0" dirty="0">
                <a:solidFill>
                  <a:srgbClr val="00396F"/>
                </a:solidFill>
                <a:effectLst/>
              </a:rPr>
              <a:t>The rapidity of change in today's markets makes one consideration clear: the real competitive advantage today is to work with as many people as possible by forcing openness rather than closedness and generating as much networking and exchange as possible with the outside of the company. </a:t>
            </a:r>
          </a:p>
          <a:p>
            <a:pPr marL="0" marR="0" lvl="0" indent="0" algn="just" defTabSz="914400" rtl="0" eaLnBrk="0" fontAlgn="base" latinLnBrk="0" hangingPunct="0">
              <a:lnSpc>
                <a:spcPct val="100000"/>
              </a:lnSpc>
              <a:spcBef>
                <a:spcPct val="0"/>
              </a:spcBef>
              <a:spcAft>
                <a:spcPct val="0"/>
              </a:spcAft>
              <a:buClrTx/>
              <a:buSzTx/>
              <a:buFontTx/>
              <a:buNone/>
              <a:tabLst/>
            </a:pPr>
            <a:endParaRPr lang="en-US" sz="1600" dirty="0">
              <a:solidFill>
                <a:srgbClr val="00396F"/>
              </a:solidFill>
            </a:endParaRPr>
          </a:p>
          <a:p>
            <a:pPr marL="0" marR="0" lvl="0" indent="0" algn="just" defTabSz="914400" rtl="0" eaLnBrk="0" fontAlgn="base" latinLnBrk="0" hangingPunct="0">
              <a:lnSpc>
                <a:spcPct val="100000"/>
              </a:lnSpc>
              <a:spcBef>
                <a:spcPct val="0"/>
              </a:spcBef>
              <a:spcAft>
                <a:spcPct val="0"/>
              </a:spcAft>
              <a:buClrTx/>
              <a:buSzTx/>
              <a:buFontTx/>
              <a:buNone/>
              <a:tabLst/>
            </a:pPr>
            <a:r>
              <a:rPr lang="en-US" sz="1600" i="0" dirty="0">
                <a:solidFill>
                  <a:srgbClr val="00396F"/>
                </a:solidFill>
                <a:effectLst/>
              </a:rPr>
              <a:t>Open innovation is a paradigm that affirms that companies can and should make use of external ideas, as well as internal ones, and access by internal and external routes to markets if they want to advance in their technological expertise.</a:t>
            </a:r>
          </a:p>
        </p:txBody>
      </p:sp>
    </p:spTree>
    <p:extLst>
      <p:ext uri="{BB962C8B-B14F-4D97-AF65-F5344CB8AC3E}">
        <p14:creationId xmlns:p14="http://schemas.microsoft.com/office/powerpoint/2010/main" val="7390875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015397-8BE7-45BF-BC66-008B25EB9C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7015397-8BE7-45BF-BC66-008B25EB9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a:solidFill>
                  <a:srgbClr val="00396F"/>
                </a:solidFill>
                <a:latin typeface="+mn-lt"/>
                <a:cs typeface="Calibri"/>
              </a:rPr>
              <a:t>Crowdsourcing</a:t>
            </a:r>
            <a:endParaRPr sz="4000" dirty="0">
              <a:solidFill>
                <a:srgbClr val="BEBDBD"/>
              </a:solidFill>
            </a:endParaRPr>
          </a:p>
        </p:txBody>
      </p:sp>
      <p:sp>
        <p:nvSpPr>
          <p:cNvPr id="3" name="Slide Number Placeholder 6">
            <a:extLst>
              <a:ext uri="{FF2B5EF4-FFF2-40B4-BE49-F238E27FC236}">
                <a16:creationId xmlns:a16="http://schemas.microsoft.com/office/drawing/2014/main" id="{F7E4FFE9-BC46-4500-BC7F-ECF796F0CC2D}"/>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19</a:t>
            </a:fld>
            <a:endParaRPr lang="en-GB" dirty="0">
              <a:solidFill>
                <a:srgbClr val="00396F"/>
              </a:solidFill>
              <a:latin typeface="Abadi" panose="020B0604020104020204" pitchFamily="34" charset="0"/>
            </a:endParaRPr>
          </a:p>
        </p:txBody>
      </p:sp>
      <p:sp>
        <p:nvSpPr>
          <p:cNvPr id="10" name="AutoShape 11" descr="Comparison of open innovation with closed innovation (Adapted from... |  Download Scientific Diagram">
            <a:extLst>
              <a:ext uri="{FF2B5EF4-FFF2-40B4-BE49-F238E27FC236}">
                <a16:creationId xmlns:a16="http://schemas.microsoft.com/office/drawing/2014/main" id="{2EE800EE-8E7C-47AC-9DAF-C5B945F5EA0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Shape 33024">
            <a:extLst>
              <a:ext uri="{FF2B5EF4-FFF2-40B4-BE49-F238E27FC236}">
                <a16:creationId xmlns:a16="http://schemas.microsoft.com/office/drawing/2014/main" id="{4E6B1220-B1D5-05B6-9855-82321330F709}"/>
              </a:ext>
            </a:extLst>
          </p:cNvPr>
          <p:cNvSpPr/>
          <p:nvPr/>
        </p:nvSpPr>
        <p:spPr>
          <a:xfrm>
            <a:off x="5107961" y="2878005"/>
            <a:ext cx="1593298" cy="1491402"/>
          </a:xfrm>
          <a:prstGeom prst="ellipse">
            <a:avLst/>
          </a:prstGeom>
          <a:solidFill>
            <a:srgbClr val="004785"/>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10000"/>
              </a:lnSpc>
              <a:spcBef>
                <a:spcPts val="3000"/>
              </a:spcBef>
              <a:defRPr sz="2000">
                <a:solidFill>
                  <a:srgbClr val="FFFFFF"/>
                </a:solidFill>
                <a:latin typeface="Helvetica Neue Light"/>
                <a:ea typeface="Helvetica Neue Light"/>
                <a:cs typeface="Helvetica Neue Light"/>
                <a:sym typeface="Helvetica Neue Light"/>
              </a:defRPr>
            </a:lvl1pPr>
          </a:lstStyle>
          <a:p>
            <a:pPr algn="ctr"/>
            <a:r>
              <a:rPr lang="it-IT" b="1" dirty="0" err="1">
                <a:latin typeface="Gill Sans MT" panose="020B0502020104020203" pitchFamily="34" charset="0"/>
              </a:rPr>
              <a:t>Pillars</a:t>
            </a:r>
            <a:endParaRPr lang="en-US" b="1" dirty="0">
              <a:latin typeface="Gill Sans MT" panose="020B0502020104020203" pitchFamily="34" charset="0"/>
            </a:endParaRPr>
          </a:p>
        </p:txBody>
      </p:sp>
      <p:sp>
        <p:nvSpPr>
          <p:cNvPr id="50" name="Shape 33025">
            <a:extLst>
              <a:ext uri="{FF2B5EF4-FFF2-40B4-BE49-F238E27FC236}">
                <a16:creationId xmlns:a16="http://schemas.microsoft.com/office/drawing/2014/main" id="{F7F0F840-0C5A-C628-F79D-DF3B82BE0FA3}"/>
              </a:ext>
            </a:extLst>
          </p:cNvPr>
          <p:cNvSpPr/>
          <p:nvPr/>
        </p:nvSpPr>
        <p:spPr>
          <a:xfrm>
            <a:off x="4839548" y="2628422"/>
            <a:ext cx="2078420" cy="2089181"/>
          </a:xfrm>
          <a:prstGeom prst="ellipse">
            <a:avLst/>
          </a:prstGeom>
          <a:noFill/>
          <a:ln w="63500" cap="flat">
            <a:solidFill>
              <a:schemeClr val="bg2">
                <a:lumMod val="40000"/>
                <a:lumOff val="60000"/>
              </a:schemeClr>
            </a:solidFill>
            <a:prstDash val="solid"/>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51" name="Shape 33026">
            <a:extLst>
              <a:ext uri="{FF2B5EF4-FFF2-40B4-BE49-F238E27FC236}">
                <a16:creationId xmlns:a16="http://schemas.microsoft.com/office/drawing/2014/main" id="{6ECEB53F-A769-B177-ACDB-AD864D93BBD3}"/>
              </a:ext>
            </a:extLst>
          </p:cNvPr>
          <p:cNvSpPr/>
          <p:nvPr/>
        </p:nvSpPr>
        <p:spPr>
          <a:xfrm>
            <a:off x="6824564" y="3502396"/>
            <a:ext cx="173203" cy="174099"/>
          </a:xfrm>
          <a:prstGeom prst="ellipse">
            <a:avLst/>
          </a:prstGeom>
          <a:solidFill>
            <a:srgbClr val="ADA9A9"/>
          </a:solidFill>
          <a:ln w="12700" cap="flat">
            <a:noFill/>
            <a:miter lim="400000"/>
          </a:ln>
          <a:effectLst/>
        </p:spPr>
        <p:txBody>
          <a:bodyPr wrap="square" lIns="0" tIns="0" rIns="0" bIns="0" numCol="1" anchor="ctr" anchorCtr="0">
            <a:noAutofit/>
          </a:bodyPr>
          <a:lstStyle/>
          <a:p>
            <a:pPr algn="ctr"/>
            <a:endParaRPr lang="en-US" sz="1200">
              <a:solidFill>
                <a:schemeClr val="bg1"/>
              </a:solidFill>
              <a:latin typeface="Gill Sans MT" panose="020B0502020104020203" pitchFamily="34" charset="0"/>
            </a:endParaRPr>
          </a:p>
        </p:txBody>
      </p:sp>
      <p:sp>
        <p:nvSpPr>
          <p:cNvPr id="52" name="Shape 33027">
            <a:extLst>
              <a:ext uri="{FF2B5EF4-FFF2-40B4-BE49-F238E27FC236}">
                <a16:creationId xmlns:a16="http://schemas.microsoft.com/office/drawing/2014/main" id="{E59E7222-CAA4-0EFD-1080-DCA9B435B4D0}"/>
              </a:ext>
            </a:extLst>
          </p:cNvPr>
          <p:cNvSpPr/>
          <p:nvPr/>
        </p:nvSpPr>
        <p:spPr>
          <a:xfrm>
            <a:off x="4781134" y="3947176"/>
            <a:ext cx="346498" cy="348292"/>
          </a:xfrm>
          <a:custGeom>
            <a:avLst/>
            <a:gdLst/>
            <a:ahLst/>
            <a:cxnLst>
              <a:cxn ang="0">
                <a:pos x="wd2" y="hd2"/>
              </a:cxn>
              <a:cxn ang="5400000">
                <a:pos x="wd2" y="hd2"/>
              </a:cxn>
              <a:cxn ang="10800000">
                <a:pos x="wd2" y="hd2"/>
              </a:cxn>
              <a:cxn ang="16200000">
                <a:pos x="wd2" y="hd2"/>
              </a:cxn>
            </a:cxnLst>
            <a:rect l="0" t="0" r="r" b="b"/>
            <a:pathLst>
              <a:path w="19218" h="19218" extrusionOk="0">
                <a:moveTo>
                  <a:pt x="509" y="6530"/>
                </a:moveTo>
                <a:cubicBezTo>
                  <a:pt x="2210" y="1504"/>
                  <a:pt x="7662" y="-1191"/>
                  <a:pt x="12688" y="509"/>
                </a:cubicBezTo>
                <a:cubicBezTo>
                  <a:pt x="17714" y="2210"/>
                  <a:pt x="20409" y="7662"/>
                  <a:pt x="18709" y="12688"/>
                </a:cubicBezTo>
                <a:cubicBezTo>
                  <a:pt x="17008" y="17714"/>
                  <a:pt x="11556" y="20409"/>
                  <a:pt x="6530" y="18709"/>
                </a:cubicBezTo>
                <a:cubicBezTo>
                  <a:pt x="1504" y="17008"/>
                  <a:pt x="-1191" y="11556"/>
                  <a:pt x="509" y="6530"/>
                </a:cubicBezTo>
                <a:close/>
              </a:path>
            </a:pathLst>
          </a:custGeom>
          <a:solidFill>
            <a:srgbClr val="ADA9A9"/>
          </a:solidFill>
          <a:ln w="12700" cap="flat">
            <a:noFill/>
            <a:miter lim="400000"/>
          </a:ln>
          <a:effectLst/>
        </p:spPr>
        <p:txBody>
          <a:bodyPr wrap="square" lIns="0" tIns="0" rIns="0" bIns="0" numCol="1" anchor="ctr" anchorCtr="0">
            <a:noAutofit/>
          </a:bodyPr>
          <a:lstStyle/>
          <a:p>
            <a:pPr algn="ctr"/>
            <a:endParaRPr lang="en-US" sz="1200">
              <a:solidFill>
                <a:schemeClr val="bg1"/>
              </a:solidFill>
              <a:latin typeface="Gill Sans MT" panose="020B0502020104020203" pitchFamily="34" charset="0"/>
            </a:endParaRPr>
          </a:p>
        </p:txBody>
      </p:sp>
      <p:sp>
        <p:nvSpPr>
          <p:cNvPr id="53" name="Shape 33028">
            <a:extLst>
              <a:ext uri="{FF2B5EF4-FFF2-40B4-BE49-F238E27FC236}">
                <a16:creationId xmlns:a16="http://schemas.microsoft.com/office/drawing/2014/main" id="{470E336E-C198-57B5-BA95-58237DE6A1B0}"/>
              </a:ext>
            </a:extLst>
          </p:cNvPr>
          <p:cNvSpPr/>
          <p:nvPr/>
        </p:nvSpPr>
        <p:spPr>
          <a:xfrm>
            <a:off x="5261090" y="2681160"/>
            <a:ext cx="173249" cy="174147"/>
          </a:xfrm>
          <a:custGeom>
            <a:avLst/>
            <a:gdLst/>
            <a:ahLst/>
            <a:cxnLst>
              <a:cxn ang="0">
                <a:pos x="wd2" y="hd2"/>
              </a:cxn>
              <a:cxn ang="5400000">
                <a:pos x="wd2" y="hd2"/>
              </a:cxn>
              <a:cxn ang="10800000">
                <a:pos x="wd2" y="hd2"/>
              </a:cxn>
              <a:cxn ang="16200000">
                <a:pos x="wd2" y="hd2"/>
              </a:cxn>
            </a:cxnLst>
            <a:rect l="0" t="0" r="r" b="b"/>
            <a:pathLst>
              <a:path w="19218" h="19218" extrusionOk="0">
                <a:moveTo>
                  <a:pt x="509" y="6530"/>
                </a:moveTo>
                <a:cubicBezTo>
                  <a:pt x="2210" y="1504"/>
                  <a:pt x="7662" y="-1191"/>
                  <a:pt x="12688" y="509"/>
                </a:cubicBezTo>
                <a:cubicBezTo>
                  <a:pt x="17714" y="2210"/>
                  <a:pt x="20409" y="7662"/>
                  <a:pt x="18709" y="12688"/>
                </a:cubicBezTo>
                <a:cubicBezTo>
                  <a:pt x="17008" y="17714"/>
                  <a:pt x="11556" y="20409"/>
                  <a:pt x="6530" y="18709"/>
                </a:cubicBezTo>
                <a:cubicBezTo>
                  <a:pt x="1504" y="17008"/>
                  <a:pt x="-1191" y="11556"/>
                  <a:pt x="509" y="6530"/>
                </a:cubicBezTo>
                <a:close/>
              </a:path>
            </a:pathLst>
          </a:custGeom>
          <a:solidFill>
            <a:schemeClr val="accent6">
              <a:lumMod val="40000"/>
              <a:lumOff val="60000"/>
            </a:schemeClr>
          </a:solidFill>
          <a:ln w="12700" cap="flat">
            <a:noFill/>
            <a:miter lim="400000"/>
          </a:ln>
          <a:effectLst/>
        </p:spPr>
        <p:txBody>
          <a:bodyPr wrap="square" lIns="0" tIns="0" rIns="0" bIns="0" numCol="1" anchor="ctr" anchorCtr="0">
            <a:noAutofit/>
          </a:bodyPr>
          <a:lstStyle/>
          <a:p>
            <a:pPr algn="ctr"/>
            <a:endParaRPr lang="en-US" sz="1200">
              <a:solidFill>
                <a:schemeClr val="bg1"/>
              </a:solidFill>
              <a:latin typeface="Gill Sans MT" panose="020B0502020104020203" pitchFamily="34" charset="0"/>
            </a:endParaRPr>
          </a:p>
        </p:txBody>
      </p:sp>
      <p:sp>
        <p:nvSpPr>
          <p:cNvPr id="54" name="Shape 33031">
            <a:extLst>
              <a:ext uri="{FF2B5EF4-FFF2-40B4-BE49-F238E27FC236}">
                <a16:creationId xmlns:a16="http://schemas.microsoft.com/office/drawing/2014/main" id="{AE190D24-84E1-DC67-88E8-BCC7738BC1F6}"/>
              </a:ext>
            </a:extLst>
          </p:cNvPr>
          <p:cNvSpPr/>
          <p:nvPr/>
        </p:nvSpPr>
        <p:spPr>
          <a:xfrm>
            <a:off x="4146743" y="1932028"/>
            <a:ext cx="3464031" cy="3481969"/>
          </a:xfrm>
          <a:prstGeom prst="ellipse">
            <a:avLst/>
          </a:prstGeom>
          <a:noFill/>
          <a:ln w="63500" cap="flat">
            <a:solidFill>
              <a:schemeClr val="bg2">
                <a:lumMod val="40000"/>
                <a:lumOff val="60000"/>
              </a:schemeClr>
            </a:solidFill>
            <a:prstDash val="solid"/>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55" name="Shape 33032">
            <a:extLst>
              <a:ext uri="{FF2B5EF4-FFF2-40B4-BE49-F238E27FC236}">
                <a16:creationId xmlns:a16="http://schemas.microsoft.com/office/drawing/2014/main" id="{8E051907-2946-B167-2BD4-C59490CB9916}"/>
              </a:ext>
            </a:extLst>
          </p:cNvPr>
          <p:cNvSpPr/>
          <p:nvPr/>
        </p:nvSpPr>
        <p:spPr>
          <a:xfrm>
            <a:off x="4484710" y="2453670"/>
            <a:ext cx="173202" cy="174099"/>
          </a:xfrm>
          <a:prstGeom prst="ellipse">
            <a:avLst/>
          </a:prstGeom>
          <a:solidFill>
            <a:schemeClr val="accent5">
              <a:lumMod val="20000"/>
              <a:lumOff val="80000"/>
            </a:schemeClr>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56" name="Shape 33033">
            <a:extLst>
              <a:ext uri="{FF2B5EF4-FFF2-40B4-BE49-F238E27FC236}">
                <a16:creationId xmlns:a16="http://schemas.microsoft.com/office/drawing/2014/main" id="{2FDB21F7-C232-93DC-6358-A6299C4AE611}"/>
              </a:ext>
            </a:extLst>
          </p:cNvPr>
          <p:cNvSpPr/>
          <p:nvPr/>
        </p:nvSpPr>
        <p:spPr>
          <a:xfrm>
            <a:off x="7434108" y="3498914"/>
            <a:ext cx="346404" cy="348197"/>
          </a:xfrm>
          <a:prstGeom prst="ellipse">
            <a:avLst/>
          </a:prstGeom>
          <a:solidFill>
            <a:schemeClr val="bg1">
              <a:lumMod val="85000"/>
            </a:schemeClr>
          </a:solidFill>
          <a:ln w="12700" cap="flat">
            <a:noFill/>
            <a:miter lim="400000"/>
          </a:ln>
          <a:effectLst/>
        </p:spPr>
        <p:txBody>
          <a:bodyPr wrap="square" lIns="0" tIns="0" rIns="0" bIns="0" numCol="1" anchor="ctr" anchorCtr="0">
            <a:noAutofit/>
          </a:bodyPr>
          <a:lstStyle/>
          <a:p>
            <a:pPr algn="ctr"/>
            <a:endParaRPr lang="en-US" sz="1200">
              <a:solidFill>
                <a:schemeClr val="bg1"/>
              </a:solidFill>
              <a:latin typeface="Gill Sans MT" panose="020B0502020104020203" pitchFamily="34" charset="0"/>
            </a:endParaRPr>
          </a:p>
        </p:txBody>
      </p:sp>
      <p:sp>
        <p:nvSpPr>
          <p:cNvPr id="57" name="Shape 33034">
            <a:extLst>
              <a:ext uri="{FF2B5EF4-FFF2-40B4-BE49-F238E27FC236}">
                <a16:creationId xmlns:a16="http://schemas.microsoft.com/office/drawing/2014/main" id="{0A712961-B028-8E12-192C-F35D49E20AF9}"/>
              </a:ext>
            </a:extLst>
          </p:cNvPr>
          <p:cNvSpPr/>
          <p:nvPr/>
        </p:nvSpPr>
        <p:spPr>
          <a:xfrm>
            <a:off x="4162320" y="4159134"/>
            <a:ext cx="173244" cy="174142"/>
          </a:xfrm>
          <a:custGeom>
            <a:avLst/>
            <a:gdLst/>
            <a:ahLst/>
            <a:cxnLst>
              <a:cxn ang="0">
                <a:pos x="wd2" y="hd2"/>
              </a:cxn>
              <a:cxn ang="5400000">
                <a:pos x="wd2" y="hd2"/>
              </a:cxn>
              <a:cxn ang="10800000">
                <a:pos x="wd2" y="hd2"/>
              </a:cxn>
              <a:cxn ang="16200000">
                <a:pos x="wd2" y="hd2"/>
              </a:cxn>
            </a:cxnLst>
            <a:rect l="0" t="0" r="r" b="b"/>
            <a:pathLst>
              <a:path w="19490" h="19490" extrusionOk="0">
                <a:moveTo>
                  <a:pt x="7234" y="332"/>
                </a:moveTo>
                <a:cubicBezTo>
                  <a:pt x="12433" y="-1055"/>
                  <a:pt x="17772" y="2035"/>
                  <a:pt x="19158" y="7234"/>
                </a:cubicBezTo>
                <a:cubicBezTo>
                  <a:pt x="20545" y="12433"/>
                  <a:pt x="17455" y="17772"/>
                  <a:pt x="12256" y="19158"/>
                </a:cubicBezTo>
                <a:cubicBezTo>
                  <a:pt x="7057" y="20545"/>
                  <a:pt x="1718" y="17455"/>
                  <a:pt x="332" y="12256"/>
                </a:cubicBezTo>
                <a:cubicBezTo>
                  <a:pt x="-1055" y="7057"/>
                  <a:pt x="2035" y="1718"/>
                  <a:pt x="7234" y="332"/>
                </a:cubicBezTo>
                <a:close/>
              </a:path>
            </a:pathLst>
          </a:custGeom>
          <a:solidFill>
            <a:schemeClr val="tx1">
              <a:lumMod val="40000"/>
              <a:lumOff val="60000"/>
            </a:schemeClr>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58" name="Shape 33035">
            <a:extLst>
              <a:ext uri="{FF2B5EF4-FFF2-40B4-BE49-F238E27FC236}">
                <a16:creationId xmlns:a16="http://schemas.microsoft.com/office/drawing/2014/main" id="{084E7AC0-CA77-9E75-F8AC-FEEFFB7A2EFD}"/>
              </a:ext>
            </a:extLst>
          </p:cNvPr>
          <p:cNvSpPr/>
          <p:nvPr/>
        </p:nvSpPr>
        <p:spPr>
          <a:xfrm>
            <a:off x="6571604" y="1998213"/>
            <a:ext cx="346489" cy="348283"/>
          </a:xfrm>
          <a:custGeom>
            <a:avLst/>
            <a:gdLst/>
            <a:ahLst/>
            <a:cxnLst>
              <a:cxn ang="0">
                <a:pos x="wd2" y="hd2"/>
              </a:cxn>
              <a:cxn ang="5400000">
                <a:pos x="wd2" y="hd2"/>
              </a:cxn>
              <a:cxn ang="10800000">
                <a:pos x="wd2" y="hd2"/>
              </a:cxn>
              <a:cxn ang="16200000">
                <a:pos x="wd2" y="hd2"/>
              </a:cxn>
            </a:cxnLst>
            <a:rect l="0" t="0" r="r" b="b"/>
            <a:pathLst>
              <a:path w="19490" h="19490" extrusionOk="0">
                <a:moveTo>
                  <a:pt x="7234" y="332"/>
                </a:moveTo>
                <a:cubicBezTo>
                  <a:pt x="12433" y="-1055"/>
                  <a:pt x="17772" y="2035"/>
                  <a:pt x="19158" y="7234"/>
                </a:cubicBezTo>
                <a:cubicBezTo>
                  <a:pt x="20545" y="12433"/>
                  <a:pt x="17455" y="17772"/>
                  <a:pt x="12256" y="19158"/>
                </a:cubicBezTo>
                <a:cubicBezTo>
                  <a:pt x="7057" y="20545"/>
                  <a:pt x="1718" y="17455"/>
                  <a:pt x="332" y="12256"/>
                </a:cubicBezTo>
                <a:cubicBezTo>
                  <a:pt x="-1055" y="7057"/>
                  <a:pt x="2035" y="1718"/>
                  <a:pt x="7234" y="332"/>
                </a:cubicBezTo>
                <a:close/>
              </a:path>
            </a:pathLst>
          </a:custGeom>
          <a:solidFill>
            <a:schemeClr val="accent6">
              <a:lumMod val="40000"/>
              <a:lumOff val="60000"/>
            </a:schemeClr>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59" name="Shape 33036">
            <a:extLst>
              <a:ext uri="{FF2B5EF4-FFF2-40B4-BE49-F238E27FC236}">
                <a16:creationId xmlns:a16="http://schemas.microsoft.com/office/drawing/2014/main" id="{694C21F1-8DBE-2E72-EC32-60ED824996D2}"/>
              </a:ext>
            </a:extLst>
          </p:cNvPr>
          <p:cNvSpPr/>
          <p:nvPr/>
        </p:nvSpPr>
        <p:spPr>
          <a:xfrm>
            <a:off x="7364019" y="2802519"/>
            <a:ext cx="173202" cy="174099"/>
          </a:xfrm>
          <a:prstGeom prst="ellipse">
            <a:avLst/>
          </a:prstGeom>
          <a:solidFill>
            <a:schemeClr val="accent5">
              <a:lumMod val="20000"/>
              <a:lumOff val="80000"/>
            </a:schemeClr>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0" name="Shape 33037">
            <a:extLst>
              <a:ext uri="{FF2B5EF4-FFF2-40B4-BE49-F238E27FC236}">
                <a16:creationId xmlns:a16="http://schemas.microsoft.com/office/drawing/2014/main" id="{FD78E23B-A7E4-84F1-D3B1-AD854BAE46D0}"/>
              </a:ext>
            </a:extLst>
          </p:cNvPr>
          <p:cNvSpPr/>
          <p:nvPr/>
        </p:nvSpPr>
        <p:spPr>
          <a:xfrm>
            <a:off x="5637075" y="5155014"/>
            <a:ext cx="483369" cy="485872"/>
          </a:xfrm>
          <a:prstGeom prst="ellipse">
            <a:avLst/>
          </a:prstGeom>
          <a:solidFill>
            <a:schemeClr val="accent6">
              <a:lumMod val="40000"/>
              <a:lumOff val="60000"/>
            </a:schemeClr>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1" name="Shape 33040">
            <a:extLst>
              <a:ext uri="{FF2B5EF4-FFF2-40B4-BE49-F238E27FC236}">
                <a16:creationId xmlns:a16="http://schemas.microsoft.com/office/drawing/2014/main" id="{05CD7A0E-B1D4-0EBD-F3BB-C17016B16768}"/>
              </a:ext>
            </a:extLst>
          </p:cNvPr>
          <p:cNvSpPr/>
          <p:nvPr/>
        </p:nvSpPr>
        <p:spPr>
          <a:xfrm>
            <a:off x="7122312" y="4297299"/>
            <a:ext cx="483415" cy="485919"/>
          </a:xfrm>
          <a:custGeom>
            <a:avLst/>
            <a:gdLst/>
            <a:ahLst/>
            <a:cxnLst>
              <a:cxn ang="0">
                <a:pos x="wd2" y="hd2"/>
              </a:cxn>
              <a:cxn ang="5400000">
                <a:pos x="wd2" y="hd2"/>
              </a:cxn>
              <a:cxn ang="10800000">
                <a:pos x="wd2" y="hd2"/>
              </a:cxn>
              <a:cxn ang="16200000">
                <a:pos x="wd2" y="hd2"/>
              </a:cxn>
            </a:cxnLst>
            <a:rect l="0" t="0" r="r" b="b"/>
            <a:pathLst>
              <a:path w="19163" h="19163" extrusionOk="0">
                <a:moveTo>
                  <a:pt x="6359" y="18602"/>
                </a:moveTo>
                <a:cubicBezTo>
                  <a:pt x="1377" y="16822"/>
                  <a:pt x="-1219" y="11341"/>
                  <a:pt x="560" y="6359"/>
                </a:cubicBezTo>
                <a:cubicBezTo>
                  <a:pt x="2340" y="1377"/>
                  <a:pt x="7821" y="-1219"/>
                  <a:pt x="12803" y="560"/>
                </a:cubicBezTo>
                <a:cubicBezTo>
                  <a:pt x="17785" y="2340"/>
                  <a:pt x="20381" y="7821"/>
                  <a:pt x="18602" y="12803"/>
                </a:cubicBezTo>
                <a:cubicBezTo>
                  <a:pt x="16822" y="17785"/>
                  <a:pt x="11341" y="20381"/>
                  <a:pt x="6359" y="18602"/>
                </a:cubicBezTo>
                <a:close/>
              </a:path>
            </a:pathLst>
          </a:custGeom>
          <a:solidFill>
            <a:srgbClr val="007CC3"/>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2" name="Shape 33045">
            <a:extLst>
              <a:ext uri="{FF2B5EF4-FFF2-40B4-BE49-F238E27FC236}">
                <a16:creationId xmlns:a16="http://schemas.microsoft.com/office/drawing/2014/main" id="{675DBFD1-3A03-D60B-325F-C5BA8D371A28}"/>
              </a:ext>
            </a:extLst>
          </p:cNvPr>
          <p:cNvSpPr/>
          <p:nvPr/>
        </p:nvSpPr>
        <p:spPr>
          <a:xfrm>
            <a:off x="4495102" y="2280205"/>
            <a:ext cx="2771228" cy="2785580"/>
          </a:xfrm>
          <a:prstGeom prst="ellipse">
            <a:avLst/>
          </a:prstGeom>
          <a:noFill/>
          <a:ln w="63500" cap="flat">
            <a:solidFill>
              <a:schemeClr val="bg2">
                <a:lumMod val="40000"/>
                <a:lumOff val="60000"/>
              </a:schemeClr>
            </a:solidFill>
            <a:prstDash val="solid"/>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3" name="Shape 33046">
            <a:extLst>
              <a:ext uri="{FF2B5EF4-FFF2-40B4-BE49-F238E27FC236}">
                <a16:creationId xmlns:a16="http://schemas.microsoft.com/office/drawing/2014/main" id="{15F7F304-8AE0-A572-201F-8C41042D0D6D}"/>
              </a:ext>
            </a:extLst>
          </p:cNvPr>
          <p:cNvSpPr/>
          <p:nvPr/>
        </p:nvSpPr>
        <p:spPr>
          <a:xfrm>
            <a:off x="4323409" y="3498914"/>
            <a:ext cx="346403" cy="348198"/>
          </a:xfrm>
          <a:prstGeom prst="ellipse">
            <a:avLst/>
          </a:prstGeom>
          <a:solidFill>
            <a:srgbClr val="6BA5DB"/>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4" name="Shape 33047">
            <a:extLst>
              <a:ext uri="{FF2B5EF4-FFF2-40B4-BE49-F238E27FC236}">
                <a16:creationId xmlns:a16="http://schemas.microsoft.com/office/drawing/2014/main" id="{FD8AAB0B-0B15-A2C8-9CCE-4AC4F1CF243D}"/>
              </a:ext>
            </a:extLst>
          </p:cNvPr>
          <p:cNvSpPr/>
          <p:nvPr/>
        </p:nvSpPr>
        <p:spPr>
          <a:xfrm>
            <a:off x="7174306" y="3585964"/>
            <a:ext cx="173202" cy="174099"/>
          </a:xfrm>
          <a:prstGeom prst="ellipse">
            <a:avLst/>
          </a:prstGeom>
          <a:solidFill>
            <a:schemeClr val="accent5">
              <a:lumMod val="20000"/>
              <a:lumOff val="80000"/>
            </a:schemeClr>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5" name="Shape 33048">
            <a:extLst>
              <a:ext uri="{FF2B5EF4-FFF2-40B4-BE49-F238E27FC236}">
                <a16:creationId xmlns:a16="http://schemas.microsoft.com/office/drawing/2014/main" id="{DB6DDEE7-ECF4-5964-6B5E-52495097040C}"/>
              </a:ext>
            </a:extLst>
          </p:cNvPr>
          <p:cNvSpPr/>
          <p:nvPr/>
        </p:nvSpPr>
        <p:spPr>
          <a:xfrm>
            <a:off x="6109088" y="4827641"/>
            <a:ext cx="346472" cy="348267"/>
          </a:xfrm>
          <a:prstGeom prst="ellipse">
            <a:avLst/>
          </a:prstGeom>
          <a:solidFill>
            <a:schemeClr val="tx1">
              <a:lumMod val="40000"/>
              <a:lumOff val="60000"/>
            </a:schemeClr>
          </a:solidFill>
          <a:ln w="12700" cap="flat">
            <a:noFill/>
            <a:miter lim="400000"/>
          </a:ln>
          <a:effectLst/>
        </p:spPr>
        <p:txBody>
          <a:bodyPr wrap="square" lIns="0" tIns="0" rIns="0" bIns="0" numCol="1" anchor="ctr" anchorCtr="0">
            <a:noAutofit/>
          </a:bodyPr>
          <a:lstStyle/>
          <a:p>
            <a:pPr algn="ctr"/>
            <a:endParaRPr lang="en-US" sz="1200">
              <a:solidFill>
                <a:schemeClr val="bg1"/>
              </a:solidFill>
              <a:latin typeface="Gill Sans MT" panose="020B0502020104020203" pitchFamily="34" charset="0"/>
            </a:endParaRPr>
          </a:p>
        </p:txBody>
      </p:sp>
      <p:sp>
        <p:nvSpPr>
          <p:cNvPr id="66" name="Shape 33049">
            <a:extLst>
              <a:ext uri="{FF2B5EF4-FFF2-40B4-BE49-F238E27FC236}">
                <a16:creationId xmlns:a16="http://schemas.microsoft.com/office/drawing/2014/main" id="{63436EA0-14B9-9867-E16F-3664D0CE5CAC}"/>
              </a:ext>
            </a:extLst>
          </p:cNvPr>
          <p:cNvSpPr/>
          <p:nvPr/>
        </p:nvSpPr>
        <p:spPr>
          <a:xfrm>
            <a:off x="5387503" y="2257507"/>
            <a:ext cx="173237" cy="174133"/>
          </a:xfrm>
          <a:prstGeom prst="ellipse">
            <a:avLst/>
          </a:prstGeom>
          <a:solidFill>
            <a:schemeClr val="accent1"/>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sp>
        <p:nvSpPr>
          <p:cNvPr id="67" name="Shape 33050">
            <a:extLst>
              <a:ext uri="{FF2B5EF4-FFF2-40B4-BE49-F238E27FC236}">
                <a16:creationId xmlns:a16="http://schemas.microsoft.com/office/drawing/2014/main" id="{ADBAF5F9-F0E1-182D-A225-0750EA16A40C}"/>
              </a:ext>
            </a:extLst>
          </p:cNvPr>
          <p:cNvSpPr/>
          <p:nvPr/>
        </p:nvSpPr>
        <p:spPr>
          <a:xfrm>
            <a:off x="6848687" y="2673687"/>
            <a:ext cx="173202" cy="174099"/>
          </a:xfrm>
          <a:prstGeom prst="ellipse">
            <a:avLst/>
          </a:prstGeom>
          <a:solidFill>
            <a:srgbClr val="ADA9A9"/>
          </a:solidFill>
          <a:ln w="12700" cap="flat">
            <a:noFill/>
            <a:miter lim="400000"/>
          </a:ln>
          <a:effectLst/>
        </p:spPr>
        <p:txBody>
          <a:bodyPr wrap="square" lIns="0" tIns="0" rIns="0" bIns="0" numCol="1" anchor="ctr" anchorCtr="0">
            <a:noAutofit/>
          </a:bodyPr>
          <a:lstStyle/>
          <a:p>
            <a:pPr algn="ctr"/>
            <a:endParaRPr lang="en-US" sz="1200">
              <a:solidFill>
                <a:schemeClr val="bg1"/>
              </a:solidFill>
              <a:latin typeface="Gill Sans MT" panose="020B0502020104020203" pitchFamily="34" charset="0"/>
            </a:endParaRPr>
          </a:p>
        </p:txBody>
      </p:sp>
      <p:sp>
        <p:nvSpPr>
          <p:cNvPr id="68" name="Shape 33051">
            <a:extLst>
              <a:ext uri="{FF2B5EF4-FFF2-40B4-BE49-F238E27FC236}">
                <a16:creationId xmlns:a16="http://schemas.microsoft.com/office/drawing/2014/main" id="{CDF994B1-3AC0-B155-4416-51860020C765}"/>
              </a:ext>
            </a:extLst>
          </p:cNvPr>
          <p:cNvSpPr/>
          <p:nvPr/>
        </p:nvSpPr>
        <p:spPr>
          <a:xfrm>
            <a:off x="5615194" y="2054934"/>
            <a:ext cx="483285" cy="485787"/>
          </a:xfrm>
          <a:prstGeom prst="ellipse">
            <a:avLst/>
          </a:prstGeom>
          <a:solidFill>
            <a:srgbClr val="66B8FF"/>
          </a:solidFill>
          <a:ln w="12700" cap="flat">
            <a:noFill/>
            <a:miter lim="400000"/>
          </a:ln>
          <a:effectLst/>
        </p:spPr>
        <p:txBody>
          <a:bodyPr wrap="square" lIns="0" tIns="0" rIns="0" bIns="0" numCol="1" anchor="t">
            <a:noAutofit/>
          </a:bodyPr>
          <a:lstStyle/>
          <a:p>
            <a:pPr algn="ctr"/>
            <a:endParaRPr lang="en-US" sz="1400" dirty="0">
              <a:latin typeface="Gill Sans MT" panose="020B0502020104020203" pitchFamily="34" charset="0"/>
            </a:endParaRPr>
          </a:p>
        </p:txBody>
      </p:sp>
      <p:sp>
        <p:nvSpPr>
          <p:cNvPr id="69" name="Shape 33054">
            <a:extLst>
              <a:ext uri="{FF2B5EF4-FFF2-40B4-BE49-F238E27FC236}">
                <a16:creationId xmlns:a16="http://schemas.microsoft.com/office/drawing/2014/main" id="{D8CF47BC-218E-28F2-2B5D-612512C618FA}"/>
              </a:ext>
            </a:extLst>
          </p:cNvPr>
          <p:cNvSpPr/>
          <p:nvPr/>
        </p:nvSpPr>
        <p:spPr>
          <a:xfrm>
            <a:off x="4861604" y="4556566"/>
            <a:ext cx="483369" cy="485872"/>
          </a:xfrm>
          <a:prstGeom prst="ellipse">
            <a:avLst/>
          </a:prstGeom>
          <a:solidFill>
            <a:srgbClr val="6BA5DB"/>
          </a:solidFill>
          <a:ln w="12700" cap="flat">
            <a:noFill/>
            <a:miter lim="400000"/>
          </a:ln>
          <a:effectLst/>
        </p:spPr>
        <p:txBody>
          <a:bodyPr wrap="square" lIns="0" tIns="0" rIns="0" bIns="0" numCol="1" anchor="t">
            <a:noAutofit/>
          </a:bodyPr>
          <a:lstStyle/>
          <a:p>
            <a:endParaRPr lang="en-US" sz="1400">
              <a:latin typeface="Gill Sans MT" panose="020B0502020104020203" pitchFamily="34" charset="0"/>
            </a:endParaRPr>
          </a:p>
        </p:txBody>
      </p:sp>
      <p:cxnSp>
        <p:nvCxnSpPr>
          <p:cNvPr id="70" name="Straight Connector 69">
            <a:extLst>
              <a:ext uri="{FF2B5EF4-FFF2-40B4-BE49-F238E27FC236}">
                <a16:creationId xmlns:a16="http://schemas.microsoft.com/office/drawing/2014/main" id="{1F2F9F63-059C-88C4-769E-FFAC4034372B}"/>
              </a:ext>
            </a:extLst>
          </p:cNvPr>
          <p:cNvCxnSpPr>
            <a:cxnSpLocks/>
          </p:cNvCxnSpPr>
          <p:nvPr/>
        </p:nvCxnSpPr>
        <p:spPr>
          <a:xfrm>
            <a:off x="1551831" y="2937549"/>
            <a:ext cx="249099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Content Placeholder 2">
            <a:extLst>
              <a:ext uri="{FF2B5EF4-FFF2-40B4-BE49-F238E27FC236}">
                <a16:creationId xmlns:a16="http://schemas.microsoft.com/office/drawing/2014/main" id="{B3428584-12A1-E918-1111-90453A5B6FDB}"/>
              </a:ext>
            </a:extLst>
          </p:cNvPr>
          <p:cNvSpPr txBox="1">
            <a:spLocks/>
          </p:cNvSpPr>
          <p:nvPr/>
        </p:nvSpPr>
        <p:spPr>
          <a:xfrm>
            <a:off x="1551831" y="2085431"/>
            <a:ext cx="2520000" cy="276999"/>
          </a:xfrm>
          <a:prstGeom prst="rect">
            <a:avLst/>
          </a:prstGeom>
          <a:ln w="12700">
            <a:noFill/>
          </a:ln>
        </p:spPr>
        <p:txBody>
          <a:bodyPr wrap="square" lIns="0" tIns="0" rIns="0" bIns="0" anchor="ctr">
            <a:spAutoFit/>
          </a:bodyP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300"/>
              </a:spcAft>
              <a:buClr>
                <a:schemeClr val="accent1"/>
              </a:buClr>
              <a:buSzPct val="80000"/>
              <a:buNone/>
            </a:pPr>
            <a:r>
              <a:rPr lang="en-US" sz="1800" b="1" dirty="0">
                <a:solidFill>
                  <a:srgbClr val="007CC3"/>
                </a:solidFill>
                <a:latin typeface="Gill Sans MT" panose="020B0502020104020203" pitchFamily="34" charset="0"/>
              </a:rPr>
              <a:t>The crowd</a:t>
            </a:r>
          </a:p>
        </p:txBody>
      </p:sp>
      <p:sp>
        <p:nvSpPr>
          <p:cNvPr id="73" name="Content Placeholder 2">
            <a:extLst>
              <a:ext uri="{FF2B5EF4-FFF2-40B4-BE49-F238E27FC236}">
                <a16:creationId xmlns:a16="http://schemas.microsoft.com/office/drawing/2014/main" id="{1491B079-C34F-BC24-31A1-BE53174FA2A2}"/>
              </a:ext>
            </a:extLst>
          </p:cNvPr>
          <p:cNvSpPr txBox="1">
            <a:spLocks/>
          </p:cNvSpPr>
          <p:nvPr/>
        </p:nvSpPr>
        <p:spPr>
          <a:xfrm>
            <a:off x="1621360" y="4601427"/>
            <a:ext cx="2520000" cy="276999"/>
          </a:xfrm>
          <a:prstGeom prst="rect">
            <a:avLst/>
          </a:prstGeom>
          <a:ln w="12700">
            <a:noFill/>
          </a:ln>
        </p:spPr>
        <p:txBody>
          <a:bodyPr wrap="square" lIns="0" tIns="0" rIns="0" bIns="0" anchor="ctr">
            <a:spAutoFit/>
          </a:bodyP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300"/>
              </a:spcAft>
              <a:buClr>
                <a:schemeClr val="accent1"/>
              </a:buClr>
              <a:buSzPct val="80000"/>
              <a:buNone/>
            </a:pPr>
            <a:r>
              <a:rPr lang="en-US" sz="1800" b="1" dirty="0">
                <a:solidFill>
                  <a:srgbClr val="007CC3"/>
                </a:solidFill>
                <a:latin typeface="Gill Sans MT" panose="020B0502020104020203" pitchFamily="34" charset="0"/>
              </a:rPr>
              <a:t>The </a:t>
            </a:r>
            <a:r>
              <a:rPr lang="en-US" sz="1800" b="1" dirty="0" err="1">
                <a:solidFill>
                  <a:srgbClr val="007CC3"/>
                </a:solidFill>
                <a:latin typeface="Gill Sans MT" panose="020B0502020104020203" pitchFamily="34" charset="0"/>
              </a:rPr>
              <a:t>crowdsourcer</a:t>
            </a:r>
            <a:endParaRPr lang="en-US" sz="1800" b="1" dirty="0">
              <a:solidFill>
                <a:srgbClr val="007CC3"/>
              </a:solidFill>
              <a:latin typeface="Gill Sans MT" panose="020B0502020104020203" pitchFamily="34" charset="0"/>
            </a:endParaRPr>
          </a:p>
        </p:txBody>
      </p:sp>
      <p:sp>
        <p:nvSpPr>
          <p:cNvPr id="74" name="Content Placeholder 2">
            <a:extLst>
              <a:ext uri="{FF2B5EF4-FFF2-40B4-BE49-F238E27FC236}">
                <a16:creationId xmlns:a16="http://schemas.microsoft.com/office/drawing/2014/main" id="{2FCD8F04-3DDF-255A-3251-F2DE33A0B0E2}"/>
              </a:ext>
            </a:extLst>
          </p:cNvPr>
          <p:cNvSpPr txBox="1">
            <a:spLocks/>
          </p:cNvSpPr>
          <p:nvPr/>
        </p:nvSpPr>
        <p:spPr>
          <a:xfrm>
            <a:off x="7955220" y="1927696"/>
            <a:ext cx="2905403" cy="592470"/>
          </a:xfrm>
          <a:prstGeom prst="rect">
            <a:avLst/>
          </a:prstGeom>
          <a:ln w="12700">
            <a:noFill/>
          </a:ln>
        </p:spPr>
        <p:txBody>
          <a:bodyPr wrap="square" lIns="0" tIns="0" rIns="0" bIns="0" anchor="ctr">
            <a:spAutoFit/>
          </a:bodyP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300"/>
              </a:spcAft>
              <a:buClr>
                <a:schemeClr val="accent1"/>
              </a:buClr>
              <a:buSzPct val="80000"/>
              <a:buNone/>
            </a:pPr>
            <a:r>
              <a:rPr lang="it-IT" sz="1800" b="1" dirty="0">
                <a:solidFill>
                  <a:srgbClr val="007CC3"/>
                </a:solidFill>
                <a:latin typeface="Gill Sans MT" panose="020B0502020104020203" pitchFamily="34" charset="0"/>
              </a:rPr>
              <a:t>The Task</a:t>
            </a:r>
          </a:p>
          <a:p>
            <a:pPr marL="0" lvl="1" indent="0">
              <a:spcBef>
                <a:spcPts val="0"/>
              </a:spcBef>
              <a:spcAft>
                <a:spcPts val="300"/>
              </a:spcAft>
              <a:buClr>
                <a:schemeClr val="accent1"/>
              </a:buClr>
              <a:buSzPct val="80000"/>
              <a:buNone/>
            </a:pPr>
            <a:endParaRPr lang="en-US" sz="1800" b="1" dirty="0">
              <a:solidFill>
                <a:srgbClr val="007CC3"/>
              </a:solidFill>
              <a:latin typeface="Gill Sans MT" panose="020B0502020104020203" pitchFamily="34" charset="0"/>
            </a:endParaRPr>
          </a:p>
        </p:txBody>
      </p:sp>
      <p:sp>
        <p:nvSpPr>
          <p:cNvPr id="76" name="Content Placeholder 2">
            <a:extLst>
              <a:ext uri="{FF2B5EF4-FFF2-40B4-BE49-F238E27FC236}">
                <a16:creationId xmlns:a16="http://schemas.microsoft.com/office/drawing/2014/main" id="{DAC83DF7-98FE-E152-103F-B58A938608E3}"/>
              </a:ext>
            </a:extLst>
          </p:cNvPr>
          <p:cNvSpPr txBox="1">
            <a:spLocks/>
          </p:cNvSpPr>
          <p:nvPr/>
        </p:nvSpPr>
        <p:spPr>
          <a:xfrm>
            <a:off x="8097069" y="4601427"/>
            <a:ext cx="2905403" cy="592470"/>
          </a:xfrm>
          <a:prstGeom prst="rect">
            <a:avLst/>
          </a:prstGeom>
          <a:ln w="12700">
            <a:noFill/>
          </a:ln>
        </p:spPr>
        <p:txBody>
          <a:bodyPr wrap="square" lIns="0" tIns="0" rIns="0" bIns="0" anchor="ctr">
            <a:spAutoFit/>
          </a:bodyP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300"/>
              </a:spcAft>
              <a:buClr>
                <a:schemeClr val="accent1"/>
              </a:buClr>
              <a:buSzPct val="80000"/>
              <a:buNone/>
            </a:pPr>
            <a:r>
              <a:rPr lang="it-IT" sz="1800" b="1" dirty="0">
                <a:solidFill>
                  <a:srgbClr val="007CC3"/>
                </a:solidFill>
                <a:latin typeface="Gill Sans MT" panose="020B0502020104020203" pitchFamily="34" charset="0"/>
              </a:rPr>
              <a:t>The Platform</a:t>
            </a:r>
          </a:p>
          <a:p>
            <a:pPr marL="0" lvl="1" indent="0">
              <a:spcBef>
                <a:spcPts val="0"/>
              </a:spcBef>
              <a:spcAft>
                <a:spcPts val="300"/>
              </a:spcAft>
              <a:buClr>
                <a:schemeClr val="accent1"/>
              </a:buClr>
              <a:buSzPct val="80000"/>
              <a:buNone/>
            </a:pPr>
            <a:endParaRPr lang="en-US" sz="1800" b="1" dirty="0">
              <a:solidFill>
                <a:srgbClr val="007CC3"/>
              </a:solidFill>
              <a:latin typeface="Gill Sans MT" panose="020B0502020104020203" pitchFamily="34" charset="0"/>
            </a:endParaRPr>
          </a:p>
        </p:txBody>
      </p:sp>
      <p:cxnSp>
        <p:nvCxnSpPr>
          <p:cNvPr id="77" name="Straight Connector 76">
            <a:extLst>
              <a:ext uri="{FF2B5EF4-FFF2-40B4-BE49-F238E27FC236}">
                <a16:creationId xmlns:a16="http://schemas.microsoft.com/office/drawing/2014/main" id="{A0E69291-5139-0FF4-D6F4-82CC6B1B1789}"/>
              </a:ext>
            </a:extLst>
          </p:cNvPr>
          <p:cNvCxnSpPr>
            <a:cxnSpLocks/>
          </p:cNvCxnSpPr>
          <p:nvPr/>
        </p:nvCxnSpPr>
        <p:spPr>
          <a:xfrm>
            <a:off x="8031827" y="2800973"/>
            <a:ext cx="249099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C8AB176C-A170-E3D3-9677-8ACFEA35E463}"/>
              </a:ext>
            </a:extLst>
          </p:cNvPr>
          <p:cNvSpPr txBox="1"/>
          <p:nvPr/>
        </p:nvSpPr>
        <p:spPr>
          <a:xfrm>
            <a:off x="1045537" y="1773806"/>
            <a:ext cx="425116" cy="646331"/>
          </a:xfrm>
          <a:prstGeom prst="rect">
            <a:avLst/>
          </a:prstGeom>
          <a:noFill/>
        </p:spPr>
        <p:txBody>
          <a:bodyPr wrap="none" rtlCol="0">
            <a:spAutoFit/>
          </a:bodyPr>
          <a:lstStyle/>
          <a:p>
            <a:r>
              <a:rPr lang="it-IT" sz="3600" i="1" dirty="0">
                <a:solidFill>
                  <a:srgbClr val="007CC3"/>
                </a:solidFill>
                <a:latin typeface="Gill Sans MT" panose="020B0502020104020203" pitchFamily="34" charset="0"/>
              </a:rPr>
              <a:t>1</a:t>
            </a:r>
            <a:endParaRPr lang="it-IT" i="1" dirty="0">
              <a:solidFill>
                <a:srgbClr val="007CC3"/>
              </a:solidFill>
              <a:latin typeface="Gill Sans MT" panose="020B0502020104020203" pitchFamily="34" charset="0"/>
            </a:endParaRPr>
          </a:p>
        </p:txBody>
      </p:sp>
      <p:sp>
        <p:nvSpPr>
          <p:cNvPr id="81" name="TextBox 80">
            <a:extLst>
              <a:ext uri="{FF2B5EF4-FFF2-40B4-BE49-F238E27FC236}">
                <a16:creationId xmlns:a16="http://schemas.microsoft.com/office/drawing/2014/main" id="{42A1E882-7073-9169-8191-72557B2129EB}"/>
              </a:ext>
            </a:extLst>
          </p:cNvPr>
          <p:cNvSpPr txBox="1"/>
          <p:nvPr/>
        </p:nvSpPr>
        <p:spPr>
          <a:xfrm>
            <a:off x="1110398" y="4397522"/>
            <a:ext cx="425116" cy="646331"/>
          </a:xfrm>
          <a:prstGeom prst="rect">
            <a:avLst/>
          </a:prstGeom>
          <a:noFill/>
        </p:spPr>
        <p:txBody>
          <a:bodyPr wrap="none" rtlCol="0">
            <a:spAutoFit/>
          </a:bodyPr>
          <a:lstStyle/>
          <a:p>
            <a:r>
              <a:rPr lang="it-IT" sz="3600" i="1" dirty="0">
                <a:solidFill>
                  <a:srgbClr val="007CC3"/>
                </a:solidFill>
                <a:latin typeface="Gill Sans MT" panose="020B0502020104020203" pitchFamily="34" charset="0"/>
              </a:rPr>
              <a:t>2</a:t>
            </a:r>
            <a:endParaRPr lang="it-IT" i="1" dirty="0">
              <a:solidFill>
                <a:srgbClr val="007CC3"/>
              </a:solidFill>
              <a:latin typeface="Gill Sans MT" panose="020B0502020104020203" pitchFamily="34" charset="0"/>
            </a:endParaRPr>
          </a:p>
        </p:txBody>
      </p:sp>
      <p:sp>
        <p:nvSpPr>
          <p:cNvPr id="82" name="TextBox 81">
            <a:extLst>
              <a:ext uri="{FF2B5EF4-FFF2-40B4-BE49-F238E27FC236}">
                <a16:creationId xmlns:a16="http://schemas.microsoft.com/office/drawing/2014/main" id="{5E1A2A4C-858C-D71F-3577-5DAAD8A82038}"/>
              </a:ext>
            </a:extLst>
          </p:cNvPr>
          <p:cNvSpPr txBox="1"/>
          <p:nvPr/>
        </p:nvSpPr>
        <p:spPr>
          <a:xfrm>
            <a:off x="10737097" y="1773806"/>
            <a:ext cx="425116" cy="646331"/>
          </a:xfrm>
          <a:prstGeom prst="rect">
            <a:avLst/>
          </a:prstGeom>
          <a:noFill/>
        </p:spPr>
        <p:txBody>
          <a:bodyPr wrap="none" rtlCol="0">
            <a:spAutoFit/>
          </a:bodyPr>
          <a:lstStyle/>
          <a:p>
            <a:r>
              <a:rPr lang="it-IT" sz="3600" i="1" dirty="0">
                <a:solidFill>
                  <a:srgbClr val="007CC3"/>
                </a:solidFill>
                <a:latin typeface="Gill Sans MT" panose="020B0502020104020203" pitchFamily="34" charset="0"/>
              </a:rPr>
              <a:t>3</a:t>
            </a:r>
            <a:endParaRPr lang="it-IT" i="1" dirty="0">
              <a:solidFill>
                <a:srgbClr val="007CC3"/>
              </a:solidFill>
              <a:latin typeface="Gill Sans MT" panose="020B0502020104020203" pitchFamily="34" charset="0"/>
            </a:endParaRPr>
          </a:p>
        </p:txBody>
      </p:sp>
      <p:sp>
        <p:nvSpPr>
          <p:cNvPr id="84" name="TextBox 83">
            <a:extLst>
              <a:ext uri="{FF2B5EF4-FFF2-40B4-BE49-F238E27FC236}">
                <a16:creationId xmlns:a16="http://schemas.microsoft.com/office/drawing/2014/main" id="{40DF0314-96A5-7ECD-CE9A-638BF50F8D2D}"/>
              </a:ext>
            </a:extLst>
          </p:cNvPr>
          <p:cNvSpPr txBox="1"/>
          <p:nvPr/>
        </p:nvSpPr>
        <p:spPr>
          <a:xfrm>
            <a:off x="10844396" y="4222457"/>
            <a:ext cx="425116" cy="646331"/>
          </a:xfrm>
          <a:prstGeom prst="rect">
            <a:avLst/>
          </a:prstGeom>
          <a:noFill/>
        </p:spPr>
        <p:txBody>
          <a:bodyPr wrap="none" rtlCol="0">
            <a:spAutoFit/>
          </a:bodyPr>
          <a:lstStyle/>
          <a:p>
            <a:r>
              <a:rPr lang="it-IT" sz="3600" i="1" dirty="0">
                <a:solidFill>
                  <a:srgbClr val="007CC3"/>
                </a:solidFill>
                <a:latin typeface="Gill Sans MT" panose="020B0502020104020203" pitchFamily="34" charset="0"/>
              </a:rPr>
              <a:t>4</a:t>
            </a:r>
            <a:endParaRPr lang="it-IT" i="1" dirty="0">
              <a:solidFill>
                <a:srgbClr val="007CC3"/>
              </a:solidFill>
              <a:latin typeface="Gill Sans MT" panose="020B0502020104020203" pitchFamily="34" charset="0"/>
            </a:endParaRPr>
          </a:p>
        </p:txBody>
      </p:sp>
      <p:sp>
        <p:nvSpPr>
          <p:cNvPr id="87" name="TextBox 86">
            <a:extLst>
              <a:ext uri="{FF2B5EF4-FFF2-40B4-BE49-F238E27FC236}">
                <a16:creationId xmlns:a16="http://schemas.microsoft.com/office/drawing/2014/main" id="{21F36E4A-724E-F248-48A1-2ACCAB7429C3}"/>
              </a:ext>
            </a:extLst>
          </p:cNvPr>
          <p:cNvSpPr txBox="1"/>
          <p:nvPr/>
        </p:nvSpPr>
        <p:spPr>
          <a:xfrm>
            <a:off x="755045" y="4994788"/>
            <a:ext cx="3980222" cy="1077218"/>
          </a:xfrm>
          <a:prstGeom prst="rect">
            <a:avLst/>
          </a:prstGeom>
          <a:noFill/>
        </p:spPr>
        <p:txBody>
          <a:bodyPr wrap="square">
            <a:spAutoFit/>
          </a:bodyPr>
          <a:lstStyle/>
          <a:p>
            <a:r>
              <a:rPr lang="en-US" sz="1600" dirty="0">
                <a:solidFill>
                  <a:srgbClr val="00396F"/>
                </a:solidFill>
              </a:rPr>
              <a:t>An individual, an institution, a non-profit organization, or a company that seeks the completion of a task through the power of the crowd.</a:t>
            </a:r>
          </a:p>
        </p:txBody>
      </p:sp>
      <p:sp>
        <p:nvSpPr>
          <p:cNvPr id="89" name="TextBox 88">
            <a:extLst>
              <a:ext uri="{FF2B5EF4-FFF2-40B4-BE49-F238E27FC236}">
                <a16:creationId xmlns:a16="http://schemas.microsoft.com/office/drawing/2014/main" id="{64745BD8-26CE-E923-71BD-80B65A6AD39D}"/>
              </a:ext>
            </a:extLst>
          </p:cNvPr>
          <p:cNvSpPr txBox="1"/>
          <p:nvPr/>
        </p:nvSpPr>
        <p:spPr>
          <a:xfrm>
            <a:off x="1406912" y="2369163"/>
            <a:ext cx="3659680" cy="584775"/>
          </a:xfrm>
          <a:prstGeom prst="rect">
            <a:avLst/>
          </a:prstGeom>
          <a:noFill/>
        </p:spPr>
        <p:txBody>
          <a:bodyPr wrap="square">
            <a:spAutoFit/>
          </a:bodyPr>
          <a:lstStyle/>
          <a:p>
            <a:r>
              <a:rPr lang="en-US" sz="1600" dirty="0">
                <a:solidFill>
                  <a:srgbClr val="00396F"/>
                </a:solidFill>
              </a:rPr>
              <a:t>The people who take part in a crowdsourcing activity.</a:t>
            </a:r>
          </a:p>
        </p:txBody>
      </p:sp>
      <p:sp>
        <p:nvSpPr>
          <p:cNvPr id="91" name="TextBox 90">
            <a:extLst>
              <a:ext uri="{FF2B5EF4-FFF2-40B4-BE49-F238E27FC236}">
                <a16:creationId xmlns:a16="http://schemas.microsoft.com/office/drawing/2014/main" id="{15105634-243D-6514-B91A-1FB7EC85B13E}"/>
              </a:ext>
            </a:extLst>
          </p:cNvPr>
          <p:cNvSpPr txBox="1"/>
          <p:nvPr/>
        </p:nvSpPr>
        <p:spPr>
          <a:xfrm>
            <a:off x="7839790" y="2371442"/>
            <a:ext cx="4074312" cy="338554"/>
          </a:xfrm>
          <a:prstGeom prst="rect">
            <a:avLst/>
          </a:prstGeom>
          <a:noFill/>
        </p:spPr>
        <p:txBody>
          <a:bodyPr wrap="square">
            <a:spAutoFit/>
          </a:bodyPr>
          <a:lstStyle/>
          <a:p>
            <a:r>
              <a:rPr lang="en-US" sz="1600" dirty="0">
                <a:solidFill>
                  <a:srgbClr val="00396F"/>
                </a:solidFill>
              </a:rPr>
              <a:t>The activity in which the crowd participates. </a:t>
            </a:r>
          </a:p>
        </p:txBody>
      </p:sp>
      <p:sp>
        <p:nvSpPr>
          <p:cNvPr id="93" name="TextBox 92">
            <a:extLst>
              <a:ext uri="{FF2B5EF4-FFF2-40B4-BE49-F238E27FC236}">
                <a16:creationId xmlns:a16="http://schemas.microsoft.com/office/drawing/2014/main" id="{0E8C1A2C-44B5-D8C4-2548-FCE754C5CD4B}"/>
              </a:ext>
            </a:extLst>
          </p:cNvPr>
          <p:cNvSpPr txBox="1"/>
          <p:nvPr/>
        </p:nvSpPr>
        <p:spPr>
          <a:xfrm>
            <a:off x="7864047" y="4971390"/>
            <a:ext cx="3868626" cy="830997"/>
          </a:xfrm>
          <a:prstGeom prst="rect">
            <a:avLst/>
          </a:prstGeom>
          <a:noFill/>
        </p:spPr>
        <p:txBody>
          <a:bodyPr wrap="square">
            <a:spAutoFit/>
          </a:bodyPr>
          <a:lstStyle/>
          <a:p>
            <a:r>
              <a:rPr lang="en-US" sz="1600" dirty="0">
                <a:solidFill>
                  <a:srgbClr val="00396F"/>
                </a:solidFill>
              </a:rPr>
              <a:t>The system (software or non-software) within which a crowdsourcing task is performed.</a:t>
            </a:r>
          </a:p>
        </p:txBody>
      </p:sp>
      <p:cxnSp>
        <p:nvCxnSpPr>
          <p:cNvPr id="94" name="Straight Connector 93">
            <a:extLst>
              <a:ext uri="{FF2B5EF4-FFF2-40B4-BE49-F238E27FC236}">
                <a16:creationId xmlns:a16="http://schemas.microsoft.com/office/drawing/2014/main" id="{0F31DC69-244F-16F4-6634-582FD7ABBD92}"/>
              </a:ext>
            </a:extLst>
          </p:cNvPr>
          <p:cNvCxnSpPr>
            <a:cxnSpLocks/>
          </p:cNvCxnSpPr>
          <p:nvPr/>
        </p:nvCxnSpPr>
        <p:spPr>
          <a:xfrm flipV="1">
            <a:off x="7959583" y="5802387"/>
            <a:ext cx="3322423" cy="697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3F01FE0-F697-CEE8-A878-A8C396EA3EE4}"/>
              </a:ext>
            </a:extLst>
          </p:cNvPr>
          <p:cNvCxnSpPr>
            <a:cxnSpLocks/>
          </p:cNvCxnSpPr>
          <p:nvPr/>
        </p:nvCxnSpPr>
        <p:spPr>
          <a:xfrm>
            <a:off x="825738" y="6068819"/>
            <a:ext cx="349767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DCC75E58-AA5C-397D-D318-64DE7732CB0D}"/>
              </a:ext>
            </a:extLst>
          </p:cNvPr>
          <p:cNvSpPr txBox="1"/>
          <p:nvPr/>
        </p:nvSpPr>
        <p:spPr>
          <a:xfrm>
            <a:off x="1209041" y="1219634"/>
            <a:ext cx="10523632" cy="646331"/>
          </a:xfrm>
          <a:prstGeom prst="rect">
            <a:avLst/>
          </a:prstGeom>
          <a:noFill/>
        </p:spPr>
        <p:txBody>
          <a:bodyPr wrap="square">
            <a:spAutoFit/>
          </a:bodyPr>
          <a:lstStyle/>
          <a:p>
            <a:pPr algn="ctr"/>
            <a:r>
              <a:rPr lang="en-US" i="1" dirty="0">
                <a:solidFill>
                  <a:srgbClr val="00396F"/>
                </a:solidFill>
              </a:rPr>
              <a:t>“Crowdsourcing is a new business model, which enables business owners </a:t>
            </a:r>
          </a:p>
          <a:p>
            <a:pPr algn="ctr"/>
            <a:r>
              <a:rPr lang="en-US" i="1" dirty="0">
                <a:solidFill>
                  <a:srgbClr val="00396F"/>
                </a:solidFill>
              </a:rPr>
              <a:t>to rely on the power of crowd to get ideas and funds.”</a:t>
            </a:r>
          </a:p>
        </p:txBody>
      </p:sp>
    </p:spTree>
    <p:extLst>
      <p:ext uri="{BB962C8B-B14F-4D97-AF65-F5344CB8AC3E}">
        <p14:creationId xmlns:p14="http://schemas.microsoft.com/office/powerpoint/2010/main" val="244766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E04106-CFF6-45BA-ADB6-695580D43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4" name="Object 3" hidden="1">
                        <a:extLst>
                          <a:ext uri="{FF2B5EF4-FFF2-40B4-BE49-F238E27FC236}">
                            <a16:creationId xmlns:a16="http://schemas.microsoft.com/office/drawing/2014/main" id="{ACE04106-CFF6-45BA-ADB6-695580D43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1238BAF2-F278-98E5-B413-1B754FEEA42E}"/>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2</a:t>
            </a:fld>
            <a:endParaRPr lang="en-GB" dirty="0">
              <a:solidFill>
                <a:srgbClr val="00396F"/>
              </a:solidFill>
              <a:latin typeface="Abadi" panose="020B0604020104020204" pitchFamily="34" charset="0"/>
            </a:endParaRPr>
          </a:p>
        </p:txBody>
      </p:sp>
      <p:sp>
        <p:nvSpPr>
          <p:cNvPr id="2" name="Title 2">
            <a:extLst>
              <a:ext uri="{FF2B5EF4-FFF2-40B4-BE49-F238E27FC236}">
                <a16:creationId xmlns:a16="http://schemas.microsoft.com/office/drawing/2014/main" id="{EDEB00B4-4A75-E6B4-ED52-7C5C35000CFC}"/>
              </a:ext>
            </a:extLst>
          </p:cNvPr>
          <p:cNvSpPr txBox="1">
            <a:spLocks/>
          </p:cNvSpPr>
          <p:nvPr/>
        </p:nvSpPr>
        <p:spPr>
          <a:xfrm>
            <a:off x="167597" y="176229"/>
            <a:ext cx="4201203"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b="1" dirty="0">
                <a:solidFill>
                  <a:srgbClr val="00396F"/>
                </a:solidFill>
                <a:latin typeface="+mn-lt"/>
              </a:rPr>
              <a:t>Objective of the thesis</a:t>
            </a:r>
            <a:endParaRPr lang="it-IT" sz="3200" i="1" dirty="0">
              <a:solidFill>
                <a:srgbClr val="00396F"/>
              </a:solidFill>
            </a:endParaRPr>
          </a:p>
        </p:txBody>
      </p:sp>
      <p:sp>
        <p:nvSpPr>
          <p:cNvPr id="12" name="Rectangle: Rounded Corners 19">
            <a:extLst>
              <a:ext uri="{FF2B5EF4-FFF2-40B4-BE49-F238E27FC236}">
                <a16:creationId xmlns:a16="http://schemas.microsoft.com/office/drawing/2014/main" id="{0C8D7C5D-5552-C9B0-02AE-CB728B12733B}"/>
              </a:ext>
            </a:extLst>
          </p:cNvPr>
          <p:cNvSpPr/>
          <p:nvPr/>
        </p:nvSpPr>
        <p:spPr>
          <a:xfrm>
            <a:off x="1238305" y="1553298"/>
            <a:ext cx="5413318" cy="2554544"/>
          </a:xfrm>
          <a:prstGeom prst="roundRect">
            <a:avLst>
              <a:gd name="adj" fmla="val 2644"/>
            </a:avLst>
          </a:prstGeom>
          <a:solidFill>
            <a:schemeClr val="bg1"/>
          </a:solidFill>
          <a:ln>
            <a:solidFill>
              <a:schemeClr val="tx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a:solidFill>
                <a:srgbClr val="002060"/>
              </a:solidFill>
              <a:latin typeface="Arial MT"/>
            </a:endParaRPr>
          </a:p>
        </p:txBody>
      </p:sp>
      <p:sp>
        <p:nvSpPr>
          <p:cNvPr id="13" name="CasellaDiTesto 12">
            <a:extLst>
              <a:ext uri="{FF2B5EF4-FFF2-40B4-BE49-F238E27FC236}">
                <a16:creationId xmlns:a16="http://schemas.microsoft.com/office/drawing/2014/main" id="{7F35C107-497D-4823-C384-BCF8E4E0563E}"/>
              </a:ext>
            </a:extLst>
          </p:cNvPr>
          <p:cNvSpPr txBox="1"/>
          <p:nvPr/>
        </p:nvSpPr>
        <p:spPr>
          <a:xfrm>
            <a:off x="1327206" y="1561374"/>
            <a:ext cx="5288901" cy="1815882"/>
          </a:xfrm>
          <a:prstGeom prst="rect">
            <a:avLst/>
          </a:prstGeom>
          <a:noFill/>
        </p:spPr>
        <p:txBody>
          <a:bodyPr wrap="square" rtlCol="0">
            <a:spAutoFit/>
          </a:bodyPr>
          <a:lstStyle/>
          <a:p>
            <a:pPr algn="just" rtl="0"/>
            <a:r>
              <a:rPr lang="it-IT" sz="1600" dirty="0"/>
              <a:t>Proporre e valutare un modello avanzato, il Dual Encoder Transformer con Allineamento Cross-Modale (DTCA), per migliorare l'analisi del sentiment in contesti multimodali. Per superare i limiti delle tecniche tradizionali di sentiment </a:t>
            </a:r>
            <a:r>
              <a:rPr lang="it-IT" sz="1600" dirty="0" err="1"/>
              <a:t>analysis</a:t>
            </a:r>
            <a:r>
              <a:rPr lang="it-IT" sz="1600" dirty="0"/>
              <a:t> basate esclusivamente sul testo, fornendo un'interpretazione più accurata delle opinioni espresse online, in particolare sui social media.</a:t>
            </a:r>
            <a:endParaRPr lang="it-IT" sz="1600" b="1" dirty="0">
              <a:solidFill>
                <a:schemeClr val="accent1">
                  <a:lumMod val="50000"/>
                </a:schemeClr>
              </a:solidFill>
              <a:ea typeface="Verdana" panose="020B0604030504040204" pitchFamily="34" charset="0"/>
            </a:endParaRPr>
          </a:p>
        </p:txBody>
      </p:sp>
      <p:grpSp>
        <p:nvGrpSpPr>
          <p:cNvPr id="5" name="Group 6">
            <a:extLst>
              <a:ext uri="{FF2B5EF4-FFF2-40B4-BE49-F238E27FC236}">
                <a16:creationId xmlns:a16="http://schemas.microsoft.com/office/drawing/2014/main" id="{FC155BAC-C908-13B7-5464-24E6E221B239}"/>
              </a:ext>
            </a:extLst>
          </p:cNvPr>
          <p:cNvGrpSpPr>
            <a:grpSpLocks/>
          </p:cNvGrpSpPr>
          <p:nvPr/>
        </p:nvGrpSpPr>
        <p:grpSpPr>
          <a:xfrm>
            <a:off x="7586045" y="2030905"/>
            <a:ext cx="4215391" cy="3378515"/>
            <a:chOff x="381600" y="2238133"/>
            <a:chExt cx="2962322" cy="2374216"/>
          </a:xfrm>
          <a:solidFill>
            <a:srgbClr val="00396F"/>
          </a:solidFill>
        </p:grpSpPr>
        <p:sp>
          <p:nvSpPr>
            <p:cNvPr id="6" name="Shape 21210">
              <a:extLst>
                <a:ext uri="{FF2B5EF4-FFF2-40B4-BE49-F238E27FC236}">
                  <a16:creationId xmlns:a16="http://schemas.microsoft.com/office/drawing/2014/main" id="{B81A9251-14B0-2262-7746-5E80B3A64322}"/>
                </a:ext>
              </a:extLst>
            </p:cNvPr>
            <p:cNvSpPr/>
            <p:nvPr/>
          </p:nvSpPr>
          <p:spPr>
            <a:xfrm>
              <a:off x="1424511" y="2395695"/>
              <a:ext cx="1551771" cy="1184068"/>
            </a:xfrm>
            <a:custGeom>
              <a:avLst/>
              <a:gdLst/>
              <a:ahLst/>
              <a:cxnLst>
                <a:cxn ang="0">
                  <a:pos x="wd2" y="hd2"/>
                </a:cxn>
                <a:cxn ang="5400000">
                  <a:pos x="wd2" y="hd2"/>
                </a:cxn>
                <a:cxn ang="10800000">
                  <a:pos x="wd2" y="hd2"/>
                </a:cxn>
                <a:cxn ang="16200000">
                  <a:pos x="wd2" y="hd2"/>
                </a:cxn>
              </a:cxnLst>
              <a:rect l="0" t="0" r="r" b="b"/>
              <a:pathLst>
                <a:path w="21410" h="21600" extrusionOk="0">
                  <a:moveTo>
                    <a:pt x="14948" y="10819"/>
                  </a:moveTo>
                  <a:lnTo>
                    <a:pt x="21410" y="6350"/>
                  </a:lnTo>
                  <a:lnTo>
                    <a:pt x="18836" y="4002"/>
                  </a:lnTo>
                  <a:lnTo>
                    <a:pt x="18047" y="0"/>
                  </a:lnTo>
                  <a:lnTo>
                    <a:pt x="12661" y="6501"/>
                  </a:lnTo>
                  <a:lnTo>
                    <a:pt x="13032" y="8169"/>
                  </a:lnTo>
                  <a:lnTo>
                    <a:pt x="309" y="20451"/>
                  </a:lnTo>
                  <a:cubicBezTo>
                    <a:pt x="309" y="20451"/>
                    <a:pt x="-190" y="20854"/>
                    <a:pt x="81" y="21365"/>
                  </a:cubicBezTo>
                  <a:cubicBezTo>
                    <a:pt x="174" y="21542"/>
                    <a:pt x="290" y="21600"/>
                    <a:pt x="402" y="21600"/>
                  </a:cubicBezTo>
                  <a:cubicBezTo>
                    <a:pt x="613" y="21600"/>
                    <a:pt x="809" y="21394"/>
                    <a:pt x="809" y="21394"/>
                  </a:cubicBezTo>
                  <a:lnTo>
                    <a:pt x="13889" y="9787"/>
                  </a:lnTo>
                  <a:cubicBezTo>
                    <a:pt x="13889" y="9787"/>
                    <a:pt x="14948" y="10819"/>
                    <a:pt x="14948" y="10819"/>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sp>
          <p:nvSpPr>
            <p:cNvPr id="7" name="Shape 21211">
              <a:extLst>
                <a:ext uri="{FF2B5EF4-FFF2-40B4-BE49-F238E27FC236}">
                  <a16:creationId xmlns:a16="http://schemas.microsoft.com/office/drawing/2014/main" id="{5DE1A61D-6D3B-5991-E071-1DD27F5F992C}"/>
                </a:ext>
              </a:extLst>
            </p:cNvPr>
            <p:cNvSpPr/>
            <p:nvPr/>
          </p:nvSpPr>
          <p:spPr>
            <a:xfrm>
              <a:off x="381600" y="2485730"/>
              <a:ext cx="2129433" cy="2126619"/>
            </a:xfrm>
            <a:custGeom>
              <a:avLst/>
              <a:gdLst/>
              <a:ahLst/>
              <a:cxnLst>
                <a:cxn ang="0">
                  <a:pos x="wd2" y="hd2"/>
                </a:cxn>
                <a:cxn ang="5400000">
                  <a:pos x="wd2" y="hd2"/>
                </a:cxn>
                <a:cxn ang="10800000">
                  <a:pos x="wd2" y="hd2"/>
                </a:cxn>
                <a:cxn ang="16200000">
                  <a:pos x="wd2" y="hd2"/>
                </a:cxn>
              </a:cxnLst>
              <a:rect l="0" t="0" r="r" b="b"/>
              <a:pathLst>
                <a:path w="21600" h="21600" extrusionOk="0">
                  <a:moveTo>
                    <a:pt x="10726" y="0"/>
                  </a:moveTo>
                  <a:cubicBezTo>
                    <a:pt x="4806" y="32"/>
                    <a:pt x="0" y="4865"/>
                    <a:pt x="0" y="10800"/>
                  </a:cubicBezTo>
                  <a:cubicBezTo>
                    <a:pt x="0" y="16755"/>
                    <a:pt x="4839" y="21600"/>
                    <a:pt x="10786" y="21600"/>
                  </a:cubicBezTo>
                  <a:cubicBezTo>
                    <a:pt x="15892" y="21600"/>
                    <a:pt x="20180" y="18028"/>
                    <a:pt x="21291" y="13248"/>
                  </a:cubicBezTo>
                  <a:cubicBezTo>
                    <a:pt x="21291" y="13248"/>
                    <a:pt x="18572" y="15075"/>
                    <a:pt x="18572" y="15075"/>
                  </a:cubicBezTo>
                  <a:cubicBezTo>
                    <a:pt x="17060" y="17826"/>
                    <a:pt x="14137" y="19695"/>
                    <a:pt x="10786" y="19695"/>
                  </a:cubicBezTo>
                  <a:cubicBezTo>
                    <a:pt x="5888" y="19695"/>
                    <a:pt x="1903" y="15705"/>
                    <a:pt x="1903" y="10800"/>
                  </a:cubicBezTo>
                  <a:cubicBezTo>
                    <a:pt x="1903" y="10333"/>
                    <a:pt x="1940" y="9873"/>
                    <a:pt x="2010" y="9426"/>
                  </a:cubicBezTo>
                  <a:lnTo>
                    <a:pt x="1591" y="9707"/>
                  </a:lnTo>
                  <a:cubicBezTo>
                    <a:pt x="1525" y="9756"/>
                    <a:pt x="1320" y="9893"/>
                    <a:pt x="1070" y="9893"/>
                  </a:cubicBezTo>
                  <a:cubicBezTo>
                    <a:pt x="849" y="9893"/>
                    <a:pt x="653" y="9789"/>
                    <a:pt x="521" y="9600"/>
                  </a:cubicBezTo>
                  <a:cubicBezTo>
                    <a:pt x="408" y="9439"/>
                    <a:pt x="369" y="9257"/>
                    <a:pt x="407" y="9076"/>
                  </a:cubicBezTo>
                  <a:cubicBezTo>
                    <a:pt x="467" y="8786"/>
                    <a:pt x="708" y="8609"/>
                    <a:pt x="787" y="8557"/>
                  </a:cubicBezTo>
                  <a:lnTo>
                    <a:pt x="2673" y="7178"/>
                  </a:lnTo>
                  <a:cubicBezTo>
                    <a:pt x="3935" y="4355"/>
                    <a:pt x="6622" y="2307"/>
                    <a:pt x="9813" y="1958"/>
                  </a:cubicBezTo>
                  <a:lnTo>
                    <a:pt x="9915" y="1884"/>
                  </a:lnTo>
                  <a:lnTo>
                    <a:pt x="9718" y="1212"/>
                  </a:lnTo>
                  <a:lnTo>
                    <a:pt x="9651" y="984"/>
                  </a:lnTo>
                  <a:lnTo>
                    <a:pt x="9825" y="824"/>
                  </a:lnTo>
                  <a:lnTo>
                    <a:pt x="10726" y="0"/>
                  </a:lnTo>
                  <a:close/>
                  <a:moveTo>
                    <a:pt x="16368" y="1524"/>
                  </a:moveTo>
                  <a:lnTo>
                    <a:pt x="14308" y="2603"/>
                  </a:lnTo>
                  <a:cubicBezTo>
                    <a:pt x="15574" y="3147"/>
                    <a:pt x="16688" y="3978"/>
                    <a:pt x="17571" y="5013"/>
                  </a:cubicBezTo>
                  <a:lnTo>
                    <a:pt x="19112" y="3887"/>
                  </a:lnTo>
                  <a:cubicBezTo>
                    <a:pt x="18338" y="2954"/>
                    <a:pt x="17410" y="2153"/>
                    <a:pt x="16368" y="1524"/>
                  </a:cubicBezTo>
                  <a:close/>
                  <a:moveTo>
                    <a:pt x="10802" y="4496"/>
                  </a:moveTo>
                  <a:cubicBezTo>
                    <a:pt x="10173" y="4496"/>
                    <a:pt x="9564" y="4590"/>
                    <a:pt x="8990" y="4763"/>
                  </a:cubicBezTo>
                  <a:lnTo>
                    <a:pt x="5903" y="6840"/>
                  </a:lnTo>
                  <a:cubicBezTo>
                    <a:pt x="5021" y="7927"/>
                    <a:pt x="4490" y="9310"/>
                    <a:pt x="4490" y="10817"/>
                  </a:cubicBezTo>
                  <a:cubicBezTo>
                    <a:pt x="4490" y="14302"/>
                    <a:pt x="7322" y="17137"/>
                    <a:pt x="10802" y="17137"/>
                  </a:cubicBezTo>
                  <a:cubicBezTo>
                    <a:pt x="14283" y="17137"/>
                    <a:pt x="17114" y="14302"/>
                    <a:pt x="17114" y="10817"/>
                  </a:cubicBezTo>
                  <a:cubicBezTo>
                    <a:pt x="17114" y="9775"/>
                    <a:pt x="16861" y="8793"/>
                    <a:pt x="16413" y="7926"/>
                  </a:cubicBezTo>
                  <a:lnTo>
                    <a:pt x="14819" y="8997"/>
                  </a:lnTo>
                  <a:cubicBezTo>
                    <a:pt x="15071" y="9553"/>
                    <a:pt x="15212" y="10168"/>
                    <a:pt x="15212" y="10817"/>
                  </a:cubicBezTo>
                  <a:cubicBezTo>
                    <a:pt x="15212" y="13251"/>
                    <a:pt x="13234" y="15232"/>
                    <a:pt x="10802" y="15232"/>
                  </a:cubicBezTo>
                  <a:cubicBezTo>
                    <a:pt x="8371" y="15232"/>
                    <a:pt x="6393" y="13251"/>
                    <a:pt x="6393" y="10817"/>
                  </a:cubicBezTo>
                  <a:cubicBezTo>
                    <a:pt x="6393" y="8382"/>
                    <a:pt x="8371" y="6401"/>
                    <a:pt x="10802" y="6401"/>
                  </a:cubicBezTo>
                  <a:cubicBezTo>
                    <a:pt x="12023" y="6401"/>
                    <a:pt x="13128" y="6899"/>
                    <a:pt x="13928" y="7704"/>
                  </a:cubicBezTo>
                  <a:lnTo>
                    <a:pt x="15476" y="6573"/>
                  </a:lnTo>
                  <a:cubicBezTo>
                    <a:pt x="14320" y="5298"/>
                    <a:pt x="12653" y="4496"/>
                    <a:pt x="10802" y="4496"/>
                  </a:cubicBezTo>
                  <a:close/>
                  <a:moveTo>
                    <a:pt x="20154" y="5411"/>
                  </a:moveTo>
                  <a:lnTo>
                    <a:pt x="18570" y="6475"/>
                  </a:lnTo>
                  <a:cubicBezTo>
                    <a:pt x="19288" y="7758"/>
                    <a:pt x="19697" y="9235"/>
                    <a:pt x="19697" y="10807"/>
                  </a:cubicBezTo>
                  <a:cubicBezTo>
                    <a:pt x="19697" y="11369"/>
                    <a:pt x="19645" y="11920"/>
                    <a:pt x="19545" y="12453"/>
                  </a:cubicBezTo>
                  <a:lnTo>
                    <a:pt x="21598" y="10950"/>
                  </a:lnTo>
                  <a:cubicBezTo>
                    <a:pt x="21598" y="10903"/>
                    <a:pt x="21600" y="10855"/>
                    <a:pt x="21600" y="10807"/>
                  </a:cubicBezTo>
                  <a:cubicBezTo>
                    <a:pt x="21600" y="8842"/>
                    <a:pt x="21073" y="7000"/>
                    <a:pt x="20154" y="5411"/>
                  </a:cubicBezTo>
                  <a:close/>
                  <a:moveTo>
                    <a:pt x="10807" y="8992"/>
                  </a:moveTo>
                  <a:cubicBezTo>
                    <a:pt x="9799" y="8992"/>
                    <a:pt x="8981" y="9812"/>
                    <a:pt x="8981" y="10821"/>
                  </a:cubicBezTo>
                  <a:cubicBezTo>
                    <a:pt x="8981" y="11831"/>
                    <a:pt x="9799" y="12648"/>
                    <a:pt x="10807" y="12648"/>
                  </a:cubicBezTo>
                  <a:cubicBezTo>
                    <a:pt x="11815" y="12648"/>
                    <a:pt x="12631" y="11831"/>
                    <a:pt x="12631" y="10821"/>
                  </a:cubicBezTo>
                  <a:cubicBezTo>
                    <a:pt x="12631" y="10709"/>
                    <a:pt x="12622" y="10599"/>
                    <a:pt x="12603" y="10493"/>
                  </a:cubicBezTo>
                  <a:lnTo>
                    <a:pt x="11347" y="11336"/>
                  </a:lnTo>
                  <a:cubicBezTo>
                    <a:pt x="11281" y="11385"/>
                    <a:pt x="11076" y="11522"/>
                    <a:pt x="10826" y="11522"/>
                  </a:cubicBezTo>
                  <a:cubicBezTo>
                    <a:pt x="10605" y="11522"/>
                    <a:pt x="10411" y="11418"/>
                    <a:pt x="10279" y="11229"/>
                  </a:cubicBezTo>
                  <a:cubicBezTo>
                    <a:pt x="10167" y="11068"/>
                    <a:pt x="10127" y="10886"/>
                    <a:pt x="10165" y="10705"/>
                  </a:cubicBezTo>
                  <a:cubicBezTo>
                    <a:pt x="10225" y="10415"/>
                    <a:pt x="10464" y="10237"/>
                    <a:pt x="10543" y="10186"/>
                  </a:cubicBezTo>
                  <a:lnTo>
                    <a:pt x="11785" y="9278"/>
                  </a:lnTo>
                  <a:cubicBezTo>
                    <a:pt x="11502" y="9098"/>
                    <a:pt x="11167" y="8992"/>
                    <a:pt x="10807" y="8992"/>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sp>
          <p:nvSpPr>
            <p:cNvPr id="8" name="Shape 21212">
              <a:extLst>
                <a:ext uri="{FF2B5EF4-FFF2-40B4-BE49-F238E27FC236}">
                  <a16:creationId xmlns:a16="http://schemas.microsoft.com/office/drawing/2014/main" id="{0660E8C3-6D2E-C4B3-1F9C-C8F267BD3D02}"/>
                </a:ext>
              </a:extLst>
            </p:cNvPr>
            <p:cNvSpPr/>
            <p:nvPr/>
          </p:nvSpPr>
          <p:spPr>
            <a:xfrm>
              <a:off x="1792155" y="2995931"/>
              <a:ext cx="1551767" cy="1184072"/>
            </a:xfrm>
            <a:custGeom>
              <a:avLst/>
              <a:gdLst/>
              <a:ahLst/>
              <a:cxnLst>
                <a:cxn ang="0">
                  <a:pos x="wd2" y="hd2"/>
                </a:cxn>
                <a:cxn ang="5400000">
                  <a:pos x="wd2" y="hd2"/>
                </a:cxn>
                <a:cxn ang="10800000">
                  <a:pos x="wd2" y="hd2"/>
                </a:cxn>
                <a:cxn ang="16200000">
                  <a:pos x="wd2" y="hd2"/>
                </a:cxn>
              </a:cxnLst>
              <a:rect l="0" t="0" r="r" b="b"/>
              <a:pathLst>
                <a:path w="21410" h="21600" extrusionOk="0">
                  <a:moveTo>
                    <a:pt x="14948" y="10819"/>
                  </a:moveTo>
                  <a:lnTo>
                    <a:pt x="21410" y="6350"/>
                  </a:lnTo>
                  <a:lnTo>
                    <a:pt x="18836" y="4002"/>
                  </a:lnTo>
                  <a:lnTo>
                    <a:pt x="18047" y="0"/>
                  </a:lnTo>
                  <a:lnTo>
                    <a:pt x="12661" y="6501"/>
                  </a:lnTo>
                  <a:lnTo>
                    <a:pt x="13032" y="8169"/>
                  </a:lnTo>
                  <a:lnTo>
                    <a:pt x="309" y="20451"/>
                  </a:lnTo>
                  <a:cubicBezTo>
                    <a:pt x="309" y="20451"/>
                    <a:pt x="-190" y="20854"/>
                    <a:pt x="81" y="21365"/>
                  </a:cubicBezTo>
                  <a:cubicBezTo>
                    <a:pt x="174" y="21542"/>
                    <a:pt x="290" y="21600"/>
                    <a:pt x="402" y="21600"/>
                  </a:cubicBezTo>
                  <a:cubicBezTo>
                    <a:pt x="613" y="21600"/>
                    <a:pt x="809" y="21394"/>
                    <a:pt x="809" y="21394"/>
                  </a:cubicBezTo>
                  <a:lnTo>
                    <a:pt x="13889" y="9787"/>
                  </a:lnTo>
                  <a:cubicBezTo>
                    <a:pt x="13889" y="9787"/>
                    <a:pt x="14948" y="10819"/>
                    <a:pt x="14948" y="10819"/>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sp>
          <p:nvSpPr>
            <p:cNvPr id="9" name="Shape 21213">
              <a:extLst>
                <a:ext uri="{FF2B5EF4-FFF2-40B4-BE49-F238E27FC236}">
                  <a16:creationId xmlns:a16="http://schemas.microsoft.com/office/drawing/2014/main" id="{2FFD383B-E0D4-82AC-8BDE-76D664CCBF59}"/>
                </a:ext>
              </a:extLst>
            </p:cNvPr>
            <p:cNvSpPr/>
            <p:nvPr/>
          </p:nvSpPr>
          <p:spPr>
            <a:xfrm>
              <a:off x="458614" y="2238133"/>
              <a:ext cx="1551771" cy="1184068"/>
            </a:xfrm>
            <a:custGeom>
              <a:avLst/>
              <a:gdLst/>
              <a:ahLst/>
              <a:cxnLst>
                <a:cxn ang="0">
                  <a:pos x="wd2" y="hd2"/>
                </a:cxn>
                <a:cxn ang="5400000">
                  <a:pos x="wd2" y="hd2"/>
                </a:cxn>
                <a:cxn ang="10800000">
                  <a:pos x="wd2" y="hd2"/>
                </a:cxn>
                <a:cxn ang="16200000">
                  <a:pos x="wd2" y="hd2"/>
                </a:cxn>
              </a:cxnLst>
              <a:rect l="0" t="0" r="r" b="b"/>
              <a:pathLst>
                <a:path w="21410" h="21600" extrusionOk="0">
                  <a:moveTo>
                    <a:pt x="14948" y="10819"/>
                  </a:moveTo>
                  <a:lnTo>
                    <a:pt x="21410" y="6350"/>
                  </a:lnTo>
                  <a:lnTo>
                    <a:pt x="18836" y="4002"/>
                  </a:lnTo>
                  <a:lnTo>
                    <a:pt x="18047" y="0"/>
                  </a:lnTo>
                  <a:lnTo>
                    <a:pt x="12661" y="6501"/>
                  </a:lnTo>
                  <a:lnTo>
                    <a:pt x="13032" y="8169"/>
                  </a:lnTo>
                  <a:lnTo>
                    <a:pt x="309" y="20451"/>
                  </a:lnTo>
                  <a:cubicBezTo>
                    <a:pt x="309" y="20451"/>
                    <a:pt x="-190" y="20854"/>
                    <a:pt x="81" y="21365"/>
                  </a:cubicBezTo>
                  <a:cubicBezTo>
                    <a:pt x="174" y="21542"/>
                    <a:pt x="290" y="21600"/>
                    <a:pt x="402" y="21600"/>
                  </a:cubicBezTo>
                  <a:cubicBezTo>
                    <a:pt x="613" y="21600"/>
                    <a:pt x="809" y="21394"/>
                    <a:pt x="809" y="21394"/>
                  </a:cubicBezTo>
                  <a:lnTo>
                    <a:pt x="13889" y="9787"/>
                  </a:lnTo>
                  <a:cubicBezTo>
                    <a:pt x="13889" y="9787"/>
                    <a:pt x="14948" y="10819"/>
                    <a:pt x="14948" y="10819"/>
                  </a:cubicBezTo>
                  <a:close/>
                </a:path>
              </a:pathLst>
            </a:custGeom>
            <a:grpFill/>
            <a:ln w="12700" cap="flat">
              <a:noFill/>
              <a:miter lim="400000"/>
            </a:ln>
            <a:effectLst/>
          </p:spPr>
          <p:txBody>
            <a:bodyPr wrap="square" lIns="38100" tIns="38100" rIns="38100" bIns="38100" numCol="1" anchor="ctr">
              <a:noAutofit/>
            </a:bodyPr>
            <a:lstStyle/>
            <a:p>
              <a:endParaRPr lang="en-US" dirty="0">
                <a:solidFill>
                  <a:srgbClr val="00396F"/>
                </a:solidFill>
                <a:latin typeface="Arial" panose="020B0604020202020204" pitchFamily="34" charset="0"/>
              </a:endParaRPr>
            </a:p>
          </p:txBody>
        </p:sp>
      </p:grpSp>
    </p:spTree>
    <p:extLst>
      <p:ext uri="{BB962C8B-B14F-4D97-AF65-F5344CB8AC3E}">
        <p14:creationId xmlns:p14="http://schemas.microsoft.com/office/powerpoint/2010/main" val="37579758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562DC6-7316-4D07-8613-4FB2867EB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6F562DC6-7316-4D07-8613-4FB2867EBE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a:solidFill>
                  <a:srgbClr val="00396F"/>
                </a:solidFill>
                <a:latin typeface="+mn-lt"/>
                <a:cs typeface="Calibri"/>
              </a:rPr>
              <a:t>Crowdfunding</a:t>
            </a:r>
            <a:endParaRPr sz="4000" dirty="0">
              <a:solidFill>
                <a:srgbClr val="BEBDBD"/>
              </a:solidFill>
            </a:endParaRPr>
          </a:p>
        </p:txBody>
      </p:sp>
      <p:sp>
        <p:nvSpPr>
          <p:cNvPr id="3" name="Slide Number Placeholder 6">
            <a:extLst>
              <a:ext uri="{FF2B5EF4-FFF2-40B4-BE49-F238E27FC236}">
                <a16:creationId xmlns:a16="http://schemas.microsoft.com/office/drawing/2014/main" id="{7C405FCC-675D-5088-3CC8-E9DE1EF65980}"/>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20</a:t>
            </a:fld>
            <a:endParaRPr lang="en-GB" dirty="0">
              <a:solidFill>
                <a:srgbClr val="00396F"/>
              </a:solidFill>
              <a:latin typeface="Abadi" panose="020B0604020104020204" pitchFamily="34" charset="0"/>
            </a:endParaRPr>
          </a:p>
        </p:txBody>
      </p:sp>
      <p:sp>
        <p:nvSpPr>
          <p:cNvPr id="23" name="Rettangolo 2">
            <a:extLst>
              <a:ext uri="{FF2B5EF4-FFF2-40B4-BE49-F238E27FC236}">
                <a16:creationId xmlns:a16="http://schemas.microsoft.com/office/drawing/2014/main" id="{E7CD335E-14E5-1A55-D657-2FE12573BD38}"/>
              </a:ext>
            </a:extLst>
          </p:cNvPr>
          <p:cNvSpPr/>
          <p:nvPr/>
        </p:nvSpPr>
        <p:spPr>
          <a:xfrm>
            <a:off x="514349" y="1633336"/>
            <a:ext cx="11085594" cy="670633"/>
          </a:xfrm>
          <a:prstGeom prst="rect">
            <a:avLst/>
          </a:prstGeom>
        </p:spPr>
        <p:txBody>
          <a:bodyPr wrap="square">
            <a:spAutoFit/>
          </a:bodyPr>
          <a:lstStyle/>
          <a:p>
            <a:pPr algn="ctr">
              <a:lnSpc>
                <a:spcPct val="107000"/>
              </a:lnSpc>
              <a:spcAft>
                <a:spcPts val="800"/>
              </a:spcAft>
            </a:pPr>
            <a:r>
              <a:rPr lang="en-US" i="1" dirty="0">
                <a:solidFill>
                  <a:srgbClr val="00396F"/>
                </a:solidFill>
              </a:rPr>
              <a:t>“Crowdfunding is a form of crowdsourcing, and it is the practice of funding a project or venture by raising money from a large number of people, typically via the internet.”</a:t>
            </a:r>
            <a:endParaRPr lang="it-IT" i="1" dirty="0">
              <a:solidFill>
                <a:srgbClr val="003970"/>
              </a:solidFill>
              <a:latin typeface="Gill Sans MT" panose="020B0502020104020203" pitchFamily="34" charset="0"/>
            </a:endParaRPr>
          </a:p>
        </p:txBody>
      </p:sp>
      <p:cxnSp>
        <p:nvCxnSpPr>
          <p:cNvPr id="33" name="Straight Connector 32">
            <a:extLst>
              <a:ext uri="{FF2B5EF4-FFF2-40B4-BE49-F238E27FC236}">
                <a16:creationId xmlns:a16="http://schemas.microsoft.com/office/drawing/2014/main" id="{51745A24-DC13-F547-F4F5-25A2C56B51E0}"/>
              </a:ext>
            </a:extLst>
          </p:cNvPr>
          <p:cNvCxnSpPr/>
          <p:nvPr/>
        </p:nvCxnSpPr>
        <p:spPr>
          <a:xfrm>
            <a:off x="407355" y="4053840"/>
            <a:ext cx="1126786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2AA8A806-183B-3F02-9304-345310CB0595}"/>
              </a:ext>
            </a:extLst>
          </p:cNvPr>
          <p:cNvSpPr/>
          <p:nvPr/>
        </p:nvSpPr>
        <p:spPr>
          <a:xfrm>
            <a:off x="952184" y="3835786"/>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1</a:t>
            </a:r>
            <a:endParaRPr lang="en-GB" dirty="0">
              <a:solidFill>
                <a:schemeClr val="bg1"/>
              </a:solidFill>
            </a:endParaRPr>
          </a:p>
        </p:txBody>
      </p:sp>
      <p:sp>
        <p:nvSpPr>
          <p:cNvPr id="35" name="Oval 34">
            <a:extLst>
              <a:ext uri="{FF2B5EF4-FFF2-40B4-BE49-F238E27FC236}">
                <a16:creationId xmlns:a16="http://schemas.microsoft.com/office/drawing/2014/main" id="{43287820-E57D-B198-86DC-2BC5711D28A8}"/>
              </a:ext>
            </a:extLst>
          </p:cNvPr>
          <p:cNvSpPr/>
          <p:nvPr/>
        </p:nvSpPr>
        <p:spPr>
          <a:xfrm>
            <a:off x="2802446" y="3835786"/>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2</a:t>
            </a:r>
            <a:endParaRPr lang="en-GB" dirty="0">
              <a:solidFill>
                <a:schemeClr val="bg1"/>
              </a:solidFill>
            </a:endParaRPr>
          </a:p>
        </p:txBody>
      </p:sp>
      <p:sp>
        <p:nvSpPr>
          <p:cNvPr id="36" name="Oval 35">
            <a:extLst>
              <a:ext uri="{FF2B5EF4-FFF2-40B4-BE49-F238E27FC236}">
                <a16:creationId xmlns:a16="http://schemas.microsoft.com/office/drawing/2014/main" id="{267362F5-2A6E-6EDD-F253-2C4302521E01}"/>
              </a:ext>
            </a:extLst>
          </p:cNvPr>
          <p:cNvSpPr/>
          <p:nvPr/>
        </p:nvSpPr>
        <p:spPr>
          <a:xfrm>
            <a:off x="4652708" y="3835786"/>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3</a:t>
            </a:r>
            <a:endParaRPr lang="en-GB" dirty="0">
              <a:solidFill>
                <a:schemeClr val="bg1"/>
              </a:solidFill>
            </a:endParaRPr>
          </a:p>
        </p:txBody>
      </p:sp>
      <p:sp>
        <p:nvSpPr>
          <p:cNvPr id="37" name="Oval 36">
            <a:extLst>
              <a:ext uri="{FF2B5EF4-FFF2-40B4-BE49-F238E27FC236}">
                <a16:creationId xmlns:a16="http://schemas.microsoft.com/office/drawing/2014/main" id="{623A9C8C-94B9-58D5-5C50-0D4132FF25C9}"/>
              </a:ext>
            </a:extLst>
          </p:cNvPr>
          <p:cNvSpPr/>
          <p:nvPr/>
        </p:nvSpPr>
        <p:spPr>
          <a:xfrm>
            <a:off x="6502970" y="3835786"/>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4</a:t>
            </a:r>
            <a:endParaRPr lang="en-GB" dirty="0">
              <a:solidFill>
                <a:schemeClr val="bg1"/>
              </a:solidFill>
            </a:endParaRPr>
          </a:p>
        </p:txBody>
      </p:sp>
      <p:sp>
        <p:nvSpPr>
          <p:cNvPr id="38" name="Oval 37">
            <a:extLst>
              <a:ext uri="{FF2B5EF4-FFF2-40B4-BE49-F238E27FC236}">
                <a16:creationId xmlns:a16="http://schemas.microsoft.com/office/drawing/2014/main" id="{E9461735-7F16-F383-B66B-ABA0C4C516C2}"/>
              </a:ext>
            </a:extLst>
          </p:cNvPr>
          <p:cNvSpPr/>
          <p:nvPr/>
        </p:nvSpPr>
        <p:spPr>
          <a:xfrm>
            <a:off x="8353232" y="3835786"/>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5</a:t>
            </a:r>
            <a:endParaRPr lang="en-GB" dirty="0">
              <a:solidFill>
                <a:schemeClr val="bg1"/>
              </a:solidFill>
            </a:endParaRPr>
          </a:p>
        </p:txBody>
      </p:sp>
      <p:sp>
        <p:nvSpPr>
          <p:cNvPr id="39" name="Oval 38">
            <a:extLst>
              <a:ext uri="{FF2B5EF4-FFF2-40B4-BE49-F238E27FC236}">
                <a16:creationId xmlns:a16="http://schemas.microsoft.com/office/drawing/2014/main" id="{0335FE2A-9CB0-7EAA-E573-8EB6DE755623}"/>
              </a:ext>
            </a:extLst>
          </p:cNvPr>
          <p:cNvSpPr/>
          <p:nvPr/>
        </p:nvSpPr>
        <p:spPr>
          <a:xfrm>
            <a:off x="10203495" y="3835786"/>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6</a:t>
            </a:r>
            <a:endParaRPr lang="en-GB" dirty="0">
              <a:solidFill>
                <a:schemeClr val="bg1"/>
              </a:solidFill>
            </a:endParaRPr>
          </a:p>
        </p:txBody>
      </p:sp>
      <p:pic>
        <p:nvPicPr>
          <p:cNvPr id="42" name="Graphic 41" descr="Lights On with solid fill">
            <a:extLst>
              <a:ext uri="{FF2B5EF4-FFF2-40B4-BE49-F238E27FC236}">
                <a16:creationId xmlns:a16="http://schemas.microsoft.com/office/drawing/2014/main" id="{5C04FECD-3B32-D8E1-AE45-898BA007EC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534" y="2777312"/>
            <a:ext cx="914400" cy="914400"/>
          </a:xfrm>
          <a:prstGeom prst="rect">
            <a:avLst/>
          </a:prstGeom>
        </p:spPr>
      </p:pic>
      <p:pic>
        <p:nvPicPr>
          <p:cNvPr id="44" name="Graphic 43" descr="List with solid fill">
            <a:extLst>
              <a:ext uri="{FF2B5EF4-FFF2-40B4-BE49-F238E27FC236}">
                <a16:creationId xmlns:a16="http://schemas.microsoft.com/office/drawing/2014/main" id="{8DC5E588-D77D-2A30-46F0-26A2D3E152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54796" y="2777312"/>
            <a:ext cx="914400" cy="914400"/>
          </a:xfrm>
          <a:prstGeom prst="rect">
            <a:avLst/>
          </a:prstGeom>
        </p:spPr>
      </p:pic>
      <p:pic>
        <p:nvPicPr>
          <p:cNvPr id="46" name="Graphic 45" descr="Social distancing with solid fill">
            <a:extLst>
              <a:ext uri="{FF2B5EF4-FFF2-40B4-BE49-F238E27FC236}">
                <a16:creationId xmlns:a16="http://schemas.microsoft.com/office/drawing/2014/main" id="{300ADC8A-0CEA-40B1-2C92-FFC0A5ECAC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05058" y="2777312"/>
            <a:ext cx="914400" cy="914400"/>
          </a:xfrm>
          <a:prstGeom prst="rect">
            <a:avLst/>
          </a:prstGeom>
        </p:spPr>
      </p:pic>
      <p:pic>
        <p:nvPicPr>
          <p:cNvPr id="48" name="Graphic 47" descr="Flying Money with solid fill">
            <a:extLst>
              <a:ext uri="{FF2B5EF4-FFF2-40B4-BE49-F238E27FC236}">
                <a16:creationId xmlns:a16="http://schemas.microsoft.com/office/drawing/2014/main" id="{594831CD-8544-6491-EAC9-9AF49CFF61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55320" y="2777312"/>
            <a:ext cx="914400" cy="914400"/>
          </a:xfrm>
          <a:prstGeom prst="rect">
            <a:avLst/>
          </a:prstGeom>
        </p:spPr>
      </p:pic>
      <p:pic>
        <p:nvPicPr>
          <p:cNvPr id="50" name="Graphic 49" descr="Target Audience with solid fill">
            <a:extLst>
              <a:ext uri="{FF2B5EF4-FFF2-40B4-BE49-F238E27FC236}">
                <a16:creationId xmlns:a16="http://schemas.microsoft.com/office/drawing/2014/main" id="{C42E6A3F-F08F-AB3B-ED5B-9C092B46A1C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105582" y="2777312"/>
            <a:ext cx="914400" cy="914400"/>
          </a:xfrm>
          <a:prstGeom prst="rect">
            <a:avLst/>
          </a:prstGeom>
        </p:spPr>
      </p:pic>
      <p:pic>
        <p:nvPicPr>
          <p:cNvPr id="52" name="Graphic 51" descr="Group success with solid fill">
            <a:extLst>
              <a:ext uri="{FF2B5EF4-FFF2-40B4-BE49-F238E27FC236}">
                <a16:creationId xmlns:a16="http://schemas.microsoft.com/office/drawing/2014/main" id="{C3358AC3-E130-5A75-2420-90E25E3AA4E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55844" y="2777312"/>
            <a:ext cx="914400" cy="914400"/>
          </a:xfrm>
          <a:prstGeom prst="rect">
            <a:avLst/>
          </a:prstGeom>
        </p:spPr>
      </p:pic>
      <p:sp>
        <p:nvSpPr>
          <p:cNvPr id="53" name="TextBox 52">
            <a:extLst>
              <a:ext uri="{FF2B5EF4-FFF2-40B4-BE49-F238E27FC236}">
                <a16:creationId xmlns:a16="http://schemas.microsoft.com/office/drawing/2014/main" id="{A88BEFAD-27A4-19B8-1638-8090F58D9823}"/>
              </a:ext>
            </a:extLst>
          </p:cNvPr>
          <p:cNvSpPr txBox="1"/>
          <p:nvPr/>
        </p:nvSpPr>
        <p:spPr>
          <a:xfrm>
            <a:off x="517523" y="4539561"/>
            <a:ext cx="1288421" cy="338554"/>
          </a:xfrm>
          <a:prstGeom prst="rect">
            <a:avLst/>
          </a:prstGeom>
          <a:noFill/>
        </p:spPr>
        <p:txBody>
          <a:bodyPr wrap="square" rtlCol="0">
            <a:spAutoFit/>
          </a:bodyPr>
          <a:lstStyle/>
          <a:p>
            <a:pPr algn="ctr"/>
            <a:r>
              <a:rPr lang="it-IT" sz="1600" b="1" dirty="0">
                <a:solidFill>
                  <a:srgbClr val="00396F"/>
                </a:solidFill>
              </a:rPr>
              <a:t>Idea </a:t>
            </a:r>
            <a:endParaRPr lang="en-US" sz="1600" b="1" dirty="0">
              <a:solidFill>
                <a:srgbClr val="00396F"/>
              </a:solidFill>
            </a:endParaRPr>
          </a:p>
        </p:txBody>
      </p:sp>
      <p:sp>
        <p:nvSpPr>
          <p:cNvPr id="54" name="Oval 53">
            <a:extLst>
              <a:ext uri="{FF2B5EF4-FFF2-40B4-BE49-F238E27FC236}">
                <a16:creationId xmlns:a16="http://schemas.microsoft.com/office/drawing/2014/main" id="{2199F717-A8D4-F91C-8F8B-B8728841597E}"/>
              </a:ext>
            </a:extLst>
          </p:cNvPr>
          <p:cNvSpPr/>
          <p:nvPr/>
        </p:nvSpPr>
        <p:spPr>
          <a:xfrm>
            <a:off x="952184" y="3850624"/>
            <a:ext cx="419100" cy="406431"/>
          </a:xfrm>
          <a:prstGeom prst="ellipse">
            <a:avLst/>
          </a:prstGeom>
          <a:solidFill>
            <a:srgbClr val="0039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chemeClr val="bg1"/>
                </a:solidFill>
              </a:rPr>
              <a:t>1</a:t>
            </a:r>
            <a:endParaRPr lang="en-GB" dirty="0">
              <a:solidFill>
                <a:schemeClr val="bg1"/>
              </a:solidFill>
            </a:endParaRPr>
          </a:p>
        </p:txBody>
      </p:sp>
      <p:sp>
        <p:nvSpPr>
          <p:cNvPr id="57" name="TextBox 56">
            <a:extLst>
              <a:ext uri="{FF2B5EF4-FFF2-40B4-BE49-F238E27FC236}">
                <a16:creationId xmlns:a16="http://schemas.microsoft.com/office/drawing/2014/main" id="{4E575179-F337-2E7B-17E2-4E9C1BD6C3EB}"/>
              </a:ext>
            </a:extLst>
          </p:cNvPr>
          <p:cNvSpPr txBox="1"/>
          <p:nvPr/>
        </p:nvSpPr>
        <p:spPr>
          <a:xfrm>
            <a:off x="2377945" y="4496117"/>
            <a:ext cx="1288421" cy="584775"/>
          </a:xfrm>
          <a:prstGeom prst="rect">
            <a:avLst/>
          </a:prstGeom>
          <a:noFill/>
        </p:spPr>
        <p:txBody>
          <a:bodyPr wrap="square" rtlCol="0">
            <a:spAutoFit/>
          </a:bodyPr>
          <a:lstStyle/>
          <a:p>
            <a:pPr algn="ctr"/>
            <a:r>
              <a:rPr lang="it-IT" sz="1600" b="1" dirty="0">
                <a:solidFill>
                  <a:srgbClr val="00396F"/>
                </a:solidFill>
              </a:rPr>
              <a:t>Create the </a:t>
            </a:r>
            <a:r>
              <a:rPr lang="it-IT" sz="1600" b="1" dirty="0" err="1">
                <a:solidFill>
                  <a:srgbClr val="00396F"/>
                </a:solidFill>
              </a:rPr>
              <a:t>platform</a:t>
            </a:r>
            <a:r>
              <a:rPr lang="it-IT" sz="1600" b="1" dirty="0">
                <a:solidFill>
                  <a:srgbClr val="00396F"/>
                </a:solidFill>
              </a:rPr>
              <a:t> </a:t>
            </a:r>
            <a:endParaRPr lang="en-US" sz="1600" b="1" dirty="0">
              <a:solidFill>
                <a:srgbClr val="00396F"/>
              </a:solidFill>
            </a:endParaRPr>
          </a:p>
        </p:txBody>
      </p:sp>
      <p:sp>
        <p:nvSpPr>
          <p:cNvPr id="58" name="TextBox 57">
            <a:extLst>
              <a:ext uri="{FF2B5EF4-FFF2-40B4-BE49-F238E27FC236}">
                <a16:creationId xmlns:a16="http://schemas.microsoft.com/office/drawing/2014/main" id="{875F7B26-DAEE-E6C1-4156-1C4CCA990E5F}"/>
              </a:ext>
            </a:extLst>
          </p:cNvPr>
          <p:cNvSpPr txBox="1"/>
          <p:nvPr/>
        </p:nvSpPr>
        <p:spPr>
          <a:xfrm>
            <a:off x="4218047" y="4445433"/>
            <a:ext cx="1288421" cy="1323439"/>
          </a:xfrm>
          <a:prstGeom prst="rect">
            <a:avLst/>
          </a:prstGeom>
          <a:noFill/>
        </p:spPr>
        <p:txBody>
          <a:bodyPr wrap="square" rtlCol="0">
            <a:spAutoFit/>
          </a:bodyPr>
          <a:lstStyle/>
          <a:p>
            <a:pPr algn="ctr"/>
            <a:r>
              <a:rPr lang="it-IT" sz="1600" b="1" dirty="0" err="1">
                <a:solidFill>
                  <a:srgbClr val="00396F"/>
                </a:solidFill>
              </a:rPr>
              <a:t>Present</a:t>
            </a:r>
            <a:r>
              <a:rPr lang="it-IT" sz="1600" b="1" dirty="0">
                <a:solidFill>
                  <a:srgbClr val="00396F"/>
                </a:solidFill>
              </a:rPr>
              <a:t> the idea to the public  </a:t>
            </a:r>
            <a:r>
              <a:rPr lang="it-IT" sz="1600" b="1" dirty="0" err="1">
                <a:solidFill>
                  <a:srgbClr val="00396F"/>
                </a:solidFill>
              </a:rPr>
              <a:t>through</a:t>
            </a:r>
            <a:r>
              <a:rPr lang="it-IT" sz="1600" b="1" dirty="0">
                <a:solidFill>
                  <a:srgbClr val="00396F"/>
                </a:solidFill>
              </a:rPr>
              <a:t> a </a:t>
            </a:r>
            <a:r>
              <a:rPr lang="it-IT" sz="1600" b="1" dirty="0" err="1">
                <a:solidFill>
                  <a:srgbClr val="00396F"/>
                </a:solidFill>
              </a:rPr>
              <a:t>campaign</a:t>
            </a:r>
            <a:endParaRPr lang="en-US" sz="1600" b="1" dirty="0">
              <a:solidFill>
                <a:srgbClr val="00396F"/>
              </a:solidFill>
            </a:endParaRPr>
          </a:p>
        </p:txBody>
      </p:sp>
      <p:sp>
        <p:nvSpPr>
          <p:cNvPr id="59" name="TextBox 58">
            <a:extLst>
              <a:ext uri="{FF2B5EF4-FFF2-40B4-BE49-F238E27FC236}">
                <a16:creationId xmlns:a16="http://schemas.microsoft.com/office/drawing/2014/main" id="{B79A9F17-944C-FEF1-F492-1373F0F83D8C}"/>
              </a:ext>
            </a:extLst>
          </p:cNvPr>
          <p:cNvSpPr txBox="1"/>
          <p:nvPr/>
        </p:nvSpPr>
        <p:spPr>
          <a:xfrm>
            <a:off x="6080624" y="4441735"/>
            <a:ext cx="1288421" cy="830997"/>
          </a:xfrm>
          <a:prstGeom prst="rect">
            <a:avLst/>
          </a:prstGeom>
          <a:noFill/>
        </p:spPr>
        <p:txBody>
          <a:bodyPr wrap="square" rtlCol="0">
            <a:spAutoFit/>
          </a:bodyPr>
          <a:lstStyle/>
          <a:p>
            <a:pPr algn="ctr"/>
            <a:r>
              <a:rPr lang="it-IT" sz="1600" b="1" dirty="0">
                <a:solidFill>
                  <a:srgbClr val="00396F"/>
                </a:solidFill>
              </a:rPr>
              <a:t>The </a:t>
            </a:r>
            <a:r>
              <a:rPr lang="it-IT" sz="1600" b="1" dirty="0" err="1">
                <a:solidFill>
                  <a:srgbClr val="00396F"/>
                </a:solidFill>
              </a:rPr>
              <a:t>crowd</a:t>
            </a:r>
            <a:r>
              <a:rPr lang="it-IT" sz="1600" b="1" dirty="0">
                <a:solidFill>
                  <a:srgbClr val="00396F"/>
                </a:solidFill>
              </a:rPr>
              <a:t> funds the </a:t>
            </a:r>
            <a:r>
              <a:rPr lang="it-IT" sz="1600" b="1" dirty="0" err="1">
                <a:solidFill>
                  <a:srgbClr val="00396F"/>
                </a:solidFill>
              </a:rPr>
              <a:t>campaign</a:t>
            </a:r>
            <a:endParaRPr lang="en-US" sz="1600" b="1" dirty="0">
              <a:solidFill>
                <a:srgbClr val="00396F"/>
              </a:solidFill>
            </a:endParaRPr>
          </a:p>
        </p:txBody>
      </p:sp>
      <p:sp>
        <p:nvSpPr>
          <p:cNvPr id="60" name="TextBox 59">
            <a:extLst>
              <a:ext uri="{FF2B5EF4-FFF2-40B4-BE49-F238E27FC236}">
                <a16:creationId xmlns:a16="http://schemas.microsoft.com/office/drawing/2014/main" id="{B3D46D3A-4ED1-9318-C060-0179B3A2484F}"/>
              </a:ext>
            </a:extLst>
          </p:cNvPr>
          <p:cNvSpPr txBox="1"/>
          <p:nvPr/>
        </p:nvSpPr>
        <p:spPr>
          <a:xfrm>
            <a:off x="7842733" y="4436941"/>
            <a:ext cx="1527647" cy="1077218"/>
          </a:xfrm>
          <a:prstGeom prst="rect">
            <a:avLst/>
          </a:prstGeom>
          <a:noFill/>
        </p:spPr>
        <p:txBody>
          <a:bodyPr wrap="square" rtlCol="0">
            <a:spAutoFit/>
          </a:bodyPr>
          <a:lstStyle/>
          <a:p>
            <a:pPr algn="ctr"/>
            <a:r>
              <a:rPr lang="it-IT" sz="1600" b="1" dirty="0">
                <a:solidFill>
                  <a:srgbClr val="00396F"/>
                </a:solidFill>
              </a:rPr>
              <a:t>The </a:t>
            </a:r>
            <a:r>
              <a:rPr lang="it-IT" sz="1600" b="1" dirty="0" err="1">
                <a:solidFill>
                  <a:srgbClr val="00396F"/>
                </a:solidFill>
              </a:rPr>
              <a:t>campaign</a:t>
            </a:r>
            <a:r>
              <a:rPr lang="it-IT" sz="1600" b="1" dirty="0">
                <a:solidFill>
                  <a:srgbClr val="00396F"/>
                </a:solidFill>
              </a:rPr>
              <a:t> turns </a:t>
            </a:r>
            <a:r>
              <a:rPr lang="it-IT" sz="1600" b="1" dirty="0" err="1">
                <a:solidFill>
                  <a:srgbClr val="00396F"/>
                </a:solidFill>
              </a:rPr>
              <a:t>into</a:t>
            </a:r>
            <a:r>
              <a:rPr lang="it-IT" sz="1600" b="1" dirty="0">
                <a:solidFill>
                  <a:srgbClr val="00396F"/>
                </a:solidFill>
              </a:rPr>
              <a:t> reality </a:t>
            </a:r>
            <a:r>
              <a:rPr lang="it-IT" sz="1600" b="1" dirty="0" err="1">
                <a:solidFill>
                  <a:srgbClr val="00396F"/>
                </a:solidFill>
              </a:rPr>
              <a:t>if</a:t>
            </a:r>
            <a:r>
              <a:rPr lang="it-IT" sz="1600" b="1" dirty="0">
                <a:solidFill>
                  <a:srgbClr val="00396F"/>
                </a:solidFill>
              </a:rPr>
              <a:t> </a:t>
            </a:r>
            <a:r>
              <a:rPr lang="it-IT" sz="1600" b="1" dirty="0" err="1">
                <a:solidFill>
                  <a:srgbClr val="00396F"/>
                </a:solidFill>
              </a:rPr>
              <a:t>funded</a:t>
            </a:r>
            <a:r>
              <a:rPr lang="it-IT" sz="1600" b="1" dirty="0">
                <a:solidFill>
                  <a:srgbClr val="00396F"/>
                </a:solidFill>
              </a:rPr>
              <a:t>. </a:t>
            </a:r>
            <a:endParaRPr lang="en-US" sz="1600" b="1" dirty="0">
              <a:solidFill>
                <a:srgbClr val="00396F"/>
              </a:solidFill>
            </a:endParaRPr>
          </a:p>
        </p:txBody>
      </p:sp>
      <p:sp>
        <p:nvSpPr>
          <p:cNvPr id="61" name="TextBox 60">
            <a:extLst>
              <a:ext uri="{FF2B5EF4-FFF2-40B4-BE49-F238E27FC236}">
                <a16:creationId xmlns:a16="http://schemas.microsoft.com/office/drawing/2014/main" id="{09BF8131-BD18-B19D-D5B5-49FE6541E63F}"/>
              </a:ext>
            </a:extLst>
          </p:cNvPr>
          <p:cNvSpPr txBox="1"/>
          <p:nvPr/>
        </p:nvSpPr>
        <p:spPr>
          <a:xfrm>
            <a:off x="9531183" y="4415969"/>
            <a:ext cx="1763722" cy="1323439"/>
          </a:xfrm>
          <a:prstGeom prst="rect">
            <a:avLst/>
          </a:prstGeom>
          <a:noFill/>
        </p:spPr>
        <p:txBody>
          <a:bodyPr wrap="square" rtlCol="0">
            <a:spAutoFit/>
          </a:bodyPr>
          <a:lstStyle/>
          <a:p>
            <a:pPr algn="ctr"/>
            <a:r>
              <a:rPr lang="it-IT" sz="1600" b="1" dirty="0">
                <a:solidFill>
                  <a:srgbClr val="00396F"/>
                </a:solidFill>
              </a:rPr>
              <a:t>The </a:t>
            </a:r>
            <a:r>
              <a:rPr lang="it-IT" sz="1600" b="1" dirty="0" err="1">
                <a:solidFill>
                  <a:srgbClr val="00396F"/>
                </a:solidFill>
              </a:rPr>
              <a:t>crowd</a:t>
            </a:r>
            <a:r>
              <a:rPr lang="it-IT" sz="1600" b="1" dirty="0">
                <a:solidFill>
                  <a:srgbClr val="00396F"/>
                </a:solidFill>
              </a:rPr>
              <a:t> </a:t>
            </a:r>
            <a:r>
              <a:rPr lang="it-IT" sz="1600" b="1" dirty="0" err="1">
                <a:solidFill>
                  <a:srgbClr val="00396F"/>
                </a:solidFill>
              </a:rPr>
              <a:t>gets</a:t>
            </a:r>
            <a:r>
              <a:rPr lang="it-IT" sz="1600" b="1" dirty="0">
                <a:solidFill>
                  <a:srgbClr val="00396F"/>
                </a:solidFill>
              </a:rPr>
              <a:t> </a:t>
            </a:r>
            <a:r>
              <a:rPr lang="it-IT" sz="1600" b="1" dirty="0" err="1">
                <a:solidFill>
                  <a:srgbClr val="00396F"/>
                </a:solidFill>
              </a:rPr>
              <a:t>awarded</a:t>
            </a:r>
            <a:r>
              <a:rPr lang="it-IT" sz="1600" b="1" dirty="0">
                <a:solidFill>
                  <a:srgbClr val="00396F"/>
                </a:solidFill>
              </a:rPr>
              <a:t> in </a:t>
            </a:r>
            <a:r>
              <a:rPr lang="it-IT" sz="1600" b="1" dirty="0" err="1">
                <a:solidFill>
                  <a:srgbClr val="00396F"/>
                </a:solidFill>
              </a:rPr>
              <a:t>terms</a:t>
            </a:r>
            <a:r>
              <a:rPr lang="it-IT" sz="1600" b="1" dirty="0">
                <a:solidFill>
                  <a:srgbClr val="00396F"/>
                </a:solidFill>
              </a:rPr>
              <a:t> of </a:t>
            </a:r>
            <a:r>
              <a:rPr lang="it-IT" sz="1600" b="1" dirty="0" err="1">
                <a:solidFill>
                  <a:srgbClr val="00396F"/>
                </a:solidFill>
              </a:rPr>
              <a:t>interests</a:t>
            </a:r>
            <a:r>
              <a:rPr lang="it-IT" sz="1600" b="1" dirty="0">
                <a:solidFill>
                  <a:srgbClr val="00396F"/>
                </a:solidFill>
              </a:rPr>
              <a:t>, equity or </a:t>
            </a:r>
            <a:r>
              <a:rPr lang="it-IT" sz="1600" b="1" dirty="0" err="1">
                <a:solidFill>
                  <a:srgbClr val="00396F"/>
                </a:solidFill>
              </a:rPr>
              <a:t>rewards</a:t>
            </a:r>
            <a:r>
              <a:rPr lang="it-IT" sz="1600" b="1" dirty="0">
                <a:solidFill>
                  <a:srgbClr val="00396F"/>
                </a:solidFill>
              </a:rPr>
              <a:t> </a:t>
            </a:r>
            <a:r>
              <a:rPr lang="it-IT" sz="1600" b="1" dirty="0" err="1">
                <a:solidFill>
                  <a:srgbClr val="00396F"/>
                </a:solidFill>
              </a:rPr>
              <a:t>loan</a:t>
            </a:r>
            <a:r>
              <a:rPr lang="it-IT" sz="1600" b="1" dirty="0">
                <a:solidFill>
                  <a:srgbClr val="00396F"/>
                </a:solidFill>
              </a:rPr>
              <a:t>.</a:t>
            </a:r>
            <a:endParaRPr lang="en-US" sz="1600" b="1" dirty="0">
              <a:solidFill>
                <a:srgbClr val="00396F"/>
              </a:solidFill>
            </a:endParaRPr>
          </a:p>
        </p:txBody>
      </p:sp>
    </p:spTree>
    <p:extLst>
      <p:ext uri="{BB962C8B-B14F-4D97-AF65-F5344CB8AC3E}">
        <p14:creationId xmlns:p14="http://schemas.microsoft.com/office/powerpoint/2010/main" val="848377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3C9041-C1CD-4509-8526-7B962C1C20C3}"/>
              </a:ext>
            </a:extLst>
          </p:cNvPr>
          <p:cNvGraphicFramePr>
            <a:graphicFrameLocks noChangeAspect="1"/>
          </p:cNvGraphicFramePr>
          <p:nvPr>
            <p:custDataLst>
              <p:tags r:id="rId1"/>
            </p:custDataLst>
            <p:extLst>
              <p:ext uri="{D42A27DB-BD31-4B8C-83A1-F6EECF244321}">
                <p14:modId xmlns:p14="http://schemas.microsoft.com/office/powerpoint/2010/main" val="51029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23C9041-C1CD-4509-8526-7B962C1C2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a:solidFill>
                  <a:srgbClr val="00396F"/>
                </a:solidFill>
                <a:latin typeface="+mn-lt"/>
                <a:cs typeface="Calibri"/>
              </a:rPr>
              <a:t>Case Study: </a:t>
            </a:r>
            <a:r>
              <a:rPr lang="it-IT" sz="4000" b="1" spc="-5" dirty="0" err="1">
                <a:solidFill>
                  <a:srgbClr val="00396F"/>
                </a:solidFill>
                <a:latin typeface="+mn-lt"/>
                <a:cs typeface="Calibri"/>
              </a:rPr>
              <a:t>Hyperloop</a:t>
            </a:r>
            <a:r>
              <a:rPr lang="it-IT" sz="4000" b="1" spc="-5" dirty="0">
                <a:solidFill>
                  <a:srgbClr val="00396F"/>
                </a:solidFill>
                <a:latin typeface="+mn-lt"/>
                <a:cs typeface="Calibri"/>
              </a:rPr>
              <a:t> </a:t>
            </a:r>
            <a:r>
              <a:rPr lang="it-IT" sz="4000" b="1" spc="-5" dirty="0" err="1">
                <a:solidFill>
                  <a:srgbClr val="00396F"/>
                </a:solidFill>
                <a:latin typeface="+mn-lt"/>
                <a:cs typeface="Calibri"/>
              </a:rPr>
              <a:t>Transportation</a:t>
            </a:r>
            <a:r>
              <a:rPr lang="it-IT" sz="4000" b="1" spc="-5" dirty="0">
                <a:solidFill>
                  <a:srgbClr val="00396F"/>
                </a:solidFill>
                <a:latin typeface="+mn-lt"/>
                <a:cs typeface="Calibri"/>
              </a:rPr>
              <a:t> Technologies</a:t>
            </a:r>
            <a:endParaRPr sz="4000" dirty="0">
              <a:solidFill>
                <a:srgbClr val="BEBDBD"/>
              </a:solidFill>
            </a:endParaRPr>
          </a:p>
        </p:txBody>
      </p:sp>
      <p:sp>
        <p:nvSpPr>
          <p:cNvPr id="3" name="Slide Number Placeholder 6">
            <a:extLst>
              <a:ext uri="{FF2B5EF4-FFF2-40B4-BE49-F238E27FC236}">
                <a16:creationId xmlns:a16="http://schemas.microsoft.com/office/drawing/2014/main" id="{64BA54B7-C259-7BDA-8C13-9ED863A2276B}"/>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21</a:t>
            </a:fld>
            <a:endParaRPr lang="en-GB" dirty="0">
              <a:solidFill>
                <a:srgbClr val="00396F"/>
              </a:solidFill>
              <a:latin typeface="Abadi" panose="020B0604020104020204" pitchFamily="34" charset="0"/>
            </a:endParaRPr>
          </a:p>
        </p:txBody>
      </p:sp>
      <p:sp>
        <p:nvSpPr>
          <p:cNvPr id="8" name="Hexagon 4">
            <a:extLst>
              <a:ext uri="{FF2B5EF4-FFF2-40B4-BE49-F238E27FC236}">
                <a16:creationId xmlns:a16="http://schemas.microsoft.com/office/drawing/2014/main" id="{CE011CD7-567B-4693-93EB-9EB9EBE6B5A1}"/>
              </a:ext>
            </a:extLst>
          </p:cNvPr>
          <p:cNvSpPr/>
          <p:nvPr/>
        </p:nvSpPr>
        <p:spPr>
          <a:xfrm>
            <a:off x="3608117" y="3009105"/>
            <a:ext cx="1944000" cy="1944000"/>
          </a:xfrm>
          <a:prstGeom prst="ellipse">
            <a:avLst/>
          </a:prstGeom>
          <a:solidFill>
            <a:srgbClr val="007CC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62000" eaLnBrk="0" hangingPunct="0"/>
            <a:r>
              <a:rPr lang="en-US" b="1" dirty="0">
                <a:solidFill>
                  <a:schemeClr val="bg1"/>
                </a:solidFill>
                <a:cs typeface="Arial" pitchFamily="34" charset="0"/>
              </a:rPr>
              <a:t>800</a:t>
            </a:r>
          </a:p>
          <a:p>
            <a:pPr algn="ctr" defTabSz="762000" eaLnBrk="0" hangingPunct="0"/>
            <a:r>
              <a:rPr lang="en-US" b="1" dirty="0">
                <a:solidFill>
                  <a:schemeClr val="bg1"/>
                </a:solidFill>
                <a:cs typeface="Arial" pitchFamily="34" charset="0"/>
              </a:rPr>
              <a:t>team members </a:t>
            </a:r>
          </a:p>
          <a:p>
            <a:pPr algn="ctr" defTabSz="762000" eaLnBrk="0" hangingPunct="0"/>
            <a:r>
              <a:rPr lang="en-US" b="1" dirty="0">
                <a:solidFill>
                  <a:schemeClr val="bg1"/>
                </a:solidFill>
                <a:cs typeface="Arial" pitchFamily="34" charset="0"/>
              </a:rPr>
              <a:t>from over </a:t>
            </a:r>
          </a:p>
          <a:p>
            <a:pPr algn="ctr" defTabSz="762000" eaLnBrk="0" hangingPunct="0"/>
            <a:r>
              <a:rPr lang="en-US" b="1" dirty="0">
                <a:solidFill>
                  <a:schemeClr val="bg1"/>
                </a:solidFill>
                <a:cs typeface="Arial" pitchFamily="34" charset="0"/>
              </a:rPr>
              <a:t>38 countries</a:t>
            </a:r>
          </a:p>
        </p:txBody>
      </p:sp>
      <p:sp>
        <p:nvSpPr>
          <p:cNvPr id="9" name="Hexagon 42">
            <a:extLst>
              <a:ext uri="{FF2B5EF4-FFF2-40B4-BE49-F238E27FC236}">
                <a16:creationId xmlns:a16="http://schemas.microsoft.com/office/drawing/2014/main" id="{4BF5390E-1CFA-4DFF-A92B-4E6B62D5768F}"/>
              </a:ext>
            </a:extLst>
          </p:cNvPr>
          <p:cNvSpPr/>
          <p:nvPr/>
        </p:nvSpPr>
        <p:spPr>
          <a:xfrm>
            <a:off x="9681826" y="3009105"/>
            <a:ext cx="1944000" cy="194400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62000" eaLnBrk="0" hangingPunct="0"/>
            <a:r>
              <a:rPr lang="en-US" b="1" dirty="0">
                <a:solidFill>
                  <a:srgbClr val="007CC3"/>
                </a:solidFill>
                <a:cs typeface="Arial" pitchFamily="34" charset="0"/>
              </a:rPr>
              <a:t> 35 minutes</a:t>
            </a:r>
          </a:p>
          <a:p>
            <a:pPr algn="ctr" defTabSz="762000" eaLnBrk="0" hangingPunct="0"/>
            <a:r>
              <a:rPr lang="en-US" b="1" dirty="0">
                <a:solidFill>
                  <a:srgbClr val="007CC3"/>
                </a:solidFill>
                <a:cs typeface="Arial" pitchFamily="34" charset="0"/>
              </a:rPr>
              <a:t> to travel </a:t>
            </a:r>
          </a:p>
          <a:p>
            <a:pPr algn="ctr" defTabSz="762000" eaLnBrk="0" hangingPunct="0"/>
            <a:r>
              <a:rPr lang="en-US" b="1" dirty="0">
                <a:solidFill>
                  <a:srgbClr val="007CC3"/>
                </a:solidFill>
                <a:cs typeface="Arial" pitchFamily="34" charset="0"/>
              </a:rPr>
              <a:t>610 kilometers</a:t>
            </a:r>
          </a:p>
        </p:txBody>
      </p:sp>
      <p:sp>
        <p:nvSpPr>
          <p:cNvPr id="10" name="Hexagon 63">
            <a:extLst>
              <a:ext uri="{FF2B5EF4-FFF2-40B4-BE49-F238E27FC236}">
                <a16:creationId xmlns:a16="http://schemas.microsoft.com/office/drawing/2014/main" id="{C9EEF985-473B-4DAA-8CD8-962A4D20C2BC}"/>
              </a:ext>
            </a:extLst>
          </p:cNvPr>
          <p:cNvSpPr/>
          <p:nvPr/>
        </p:nvSpPr>
        <p:spPr>
          <a:xfrm>
            <a:off x="6644972" y="3009105"/>
            <a:ext cx="1944000" cy="1944000"/>
          </a:xfrm>
          <a:prstGeom prst="ellipse">
            <a:avLst/>
          </a:prstGeom>
          <a:solidFill>
            <a:srgbClr val="C2DA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62000" eaLnBrk="0" hangingPunct="0"/>
            <a:r>
              <a:rPr lang="en-US" b="1" dirty="0">
                <a:solidFill>
                  <a:srgbClr val="00396F"/>
                </a:solidFill>
              </a:rPr>
              <a:t>Community of </a:t>
            </a:r>
          </a:p>
          <a:p>
            <a:pPr algn="ctr" defTabSz="762000" eaLnBrk="0" hangingPunct="0"/>
            <a:r>
              <a:rPr lang="en-US" b="1" dirty="0">
                <a:solidFill>
                  <a:srgbClr val="00396F"/>
                </a:solidFill>
              </a:rPr>
              <a:t>more than </a:t>
            </a:r>
          </a:p>
          <a:p>
            <a:pPr algn="ctr" defTabSz="762000" eaLnBrk="0" hangingPunct="0"/>
            <a:r>
              <a:rPr lang="en-US" b="1" dirty="0">
                <a:solidFill>
                  <a:srgbClr val="00396F"/>
                </a:solidFill>
              </a:rPr>
              <a:t>60000 people</a:t>
            </a:r>
            <a:endParaRPr lang="en-US" b="1" dirty="0">
              <a:solidFill>
                <a:srgbClr val="00396F"/>
              </a:solidFill>
              <a:cs typeface="Arial" pitchFamily="34" charset="0"/>
            </a:endParaRPr>
          </a:p>
        </p:txBody>
      </p:sp>
      <p:sp>
        <p:nvSpPr>
          <p:cNvPr id="11" name="Hexagon 4">
            <a:extLst>
              <a:ext uri="{FF2B5EF4-FFF2-40B4-BE49-F238E27FC236}">
                <a16:creationId xmlns:a16="http://schemas.microsoft.com/office/drawing/2014/main" id="{A44A5C26-6A3A-4BAC-8669-E1127B3B0FA9}"/>
              </a:ext>
            </a:extLst>
          </p:cNvPr>
          <p:cNvSpPr/>
          <p:nvPr/>
        </p:nvSpPr>
        <p:spPr>
          <a:xfrm>
            <a:off x="571262" y="3009105"/>
            <a:ext cx="1944000" cy="194400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62000" eaLnBrk="0" hangingPunct="0"/>
            <a:r>
              <a:rPr lang="en-US" b="1" dirty="0">
                <a:solidFill>
                  <a:schemeClr val="bg1"/>
                </a:solidFill>
                <a:cs typeface="Arial" pitchFamily="34" charset="0"/>
              </a:rPr>
              <a:t>Founded in 2013</a:t>
            </a:r>
          </a:p>
        </p:txBody>
      </p:sp>
      <p:pic>
        <p:nvPicPr>
          <p:cNvPr id="5" name="Graphic 4" descr="Group of men with solid fill">
            <a:extLst>
              <a:ext uri="{FF2B5EF4-FFF2-40B4-BE49-F238E27FC236}">
                <a16:creationId xmlns:a16="http://schemas.microsoft.com/office/drawing/2014/main" id="{794F4DF7-E354-42FB-B3F5-1752E5D3E8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66747" y="5097349"/>
            <a:ext cx="936000" cy="936000"/>
          </a:xfrm>
          <a:prstGeom prst="rect">
            <a:avLst/>
          </a:prstGeom>
        </p:spPr>
      </p:pic>
      <p:pic>
        <p:nvPicPr>
          <p:cNvPr id="24" name="Graphic 23" descr="Train with solid fill">
            <a:extLst>
              <a:ext uri="{FF2B5EF4-FFF2-40B4-BE49-F238E27FC236}">
                <a16:creationId xmlns:a16="http://schemas.microsoft.com/office/drawing/2014/main" id="{CCD79C52-39CC-4E9D-B635-8DF02500B1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96626" y="5108149"/>
            <a:ext cx="914400" cy="914400"/>
          </a:xfrm>
          <a:prstGeom prst="rect">
            <a:avLst/>
          </a:prstGeom>
        </p:spPr>
      </p:pic>
      <p:pic>
        <p:nvPicPr>
          <p:cNvPr id="23" name="Graphic 22" descr="Board Of Directors with solid fill">
            <a:extLst>
              <a:ext uri="{FF2B5EF4-FFF2-40B4-BE49-F238E27FC236}">
                <a16:creationId xmlns:a16="http://schemas.microsoft.com/office/drawing/2014/main" id="{04A99FFD-F532-4130-A0E3-AE02A9C1A0F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5496" y="5108149"/>
            <a:ext cx="936000" cy="936000"/>
          </a:xfrm>
          <a:prstGeom prst="rect">
            <a:avLst/>
          </a:prstGeom>
        </p:spPr>
      </p:pic>
      <p:pic>
        <p:nvPicPr>
          <p:cNvPr id="27" name="Graphic 26" descr="Earth globe: Americas with solid fill">
            <a:extLst>
              <a:ext uri="{FF2B5EF4-FFF2-40B4-BE49-F238E27FC236}">
                <a16:creationId xmlns:a16="http://schemas.microsoft.com/office/drawing/2014/main" id="{406B286A-B2D1-444B-9FC9-CC8CAEE34B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58468" y="5118949"/>
            <a:ext cx="936000" cy="936000"/>
          </a:xfrm>
          <a:prstGeom prst="rect">
            <a:avLst/>
          </a:prstGeom>
        </p:spPr>
      </p:pic>
      <p:sp>
        <p:nvSpPr>
          <p:cNvPr id="15" name="TextBox 14">
            <a:extLst>
              <a:ext uri="{FF2B5EF4-FFF2-40B4-BE49-F238E27FC236}">
                <a16:creationId xmlns:a16="http://schemas.microsoft.com/office/drawing/2014/main" id="{6FEF1078-A617-CAD8-417D-FF862F1882FA}"/>
              </a:ext>
            </a:extLst>
          </p:cNvPr>
          <p:cNvSpPr txBox="1"/>
          <p:nvPr/>
        </p:nvSpPr>
        <p:spPr>
          <a:xfrm>
            <a:off x="514349" y="1321915"/>
            <a:ext cx="11076854" cy="1200329"/>
          </a:xfrm>
          <a:prstGeom prst="rect">
            <a:avLst/>
          </a:prstGeom>
          <a:noFill/>
        </p:spPr>
        <p:txBody>
          <a:bodyPr wrap="square">
            <a:spAutoFit/>
          </a:bodyPr>
          <a:lstStyle/>
          <a:p>
            <a:pPr algn="just"/>
            <a:r>
              <a:rPr lang="en-US" dirty="0">
                <a:solidFill>
                  <a:srgbClr val="00396F"/>
                </a:solidFill>
              </a:rPr>
              <a:t>Hyperloop is an ultra-high-speed public transportation system in which passengers or goods travel in autonomous pods at 1200 km per hour. It was a project of Elon Musk, who in 2012 launched the idea by placing it as an open-source project: meaning that, starting with the basic concept, anyone with the appropriate scientific and technical skills and a portfolio can further develop the project completely independently. </a:t>
            </a:r>
          </a:p>
        </p:txBody>
      </p:sp>
    </p:spTree>
    <p:extLst>
      <p:ext uri="{BB962C8B-B14F-4D97-AF65-F5344CB8AC3E}">
        <p14:creationId xmlns:p14="http://schemas.microsoft.com/office/powerpoint/2010/main" val="16300847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6519AA84-9D13-F572-EE06-509BA1038F2A}"/>
              </a:ext>
            </a:extLst>
          </p:cNvPr>
          <p:cNvSpPr/>
          <p:nvPr/>
        </p:nvSpPr>
        <p:spPr>
          <a:xfrm>
            <a:off x="274320" y="1197854"/>
            <a:ext cx="11542133" cy="102007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7000"/>
              </a:lnSpc>
              <a:spcAft>
                <a:spcPts val="800"/>
              </a:spcAft>
            </a:pPr>
            <a:r>
              <a:rPr lang="en-US" dirty="0">
                <a:solidFill>
                  <a:schemeClr val="bg1"/>
                </a:solidFill>
                <a:latin typeface="Calibri" panose="020F0502020204030204" pitchFamily="34" charset="0"/>
                <a:ea typeface="Calibri" panose="020F0502020204030204" pitchFamily="34" charset="0"/>
                <a:cs typeface="Arial" panose="020B0604020202020204" pitchFamily="34" charset="0"/>
              </a:rPr>
              <a:t>I</a:t>
            </a:r>
            <a:r>
              <a:rPr lang="en-US" sz="1800" dirty="0">
                <a:solidFill>
                  <a:schemeClr val="bg1"/>
                </a:solidFill>
                <a:effectLst/>
                <a:latin typeface="Calibri" panose="020F0502020204030204" pitchFamily="34" charset="0"/>
                <a:ea typeface="Calibri" panose="020F0502020204030204" pitchFamily="34" charset="0"/>
                <a:cs typeface="Arial" panose="020B0604020202020204" pitchFamily="34" charset="0"/>
              </a:rPr>
              <a:t> have explored the unique case of </a:t>
            </a:r>
            <a:r>
              <a:rPr lang="en-US" sz="1800" dirty="0" err="1">
                <a:solidFill>
                  <a:schemeClr val="bg1"/>
                </a:solidFill>
                <a:effectLst/>
                <a:latin typeface="Calibri" panose="020F0502020204030204" pitchFamily="34" charset="0"/>
                <a:ea typeface="Calibri" panose="020F0502020204030204" pitchFamily="34" charset="0"/>
                <a:cs typeface="Arial" panose="020B0604020202020204" pitchFamily="34" charset="0"/>
              </a:rPr>
              <a:t>JumpStartFund</a:t>
            </a:r>
            <a:r>
              <a:rPr lang="en-US" sz="1800" dirty="0">
                <a:solidFill>
                  <a:schemeClr val="bg1"/>
                </a:solidFill>
                <a:effectLst/>
                <a:latin typeface="Calibri" panose="020F0502020204030204" pitchFamily="34" charset="0"/>
                <a:ea typeface="Calibri" panose="020F0502020204030204" pitchFamily="34" charset="0"/>
                <a:cs typeface="Arial" panose="020B0604020202020204" pitchFamily="34" charset="0"/>
              </a:rPr>
              <a:t>, which is a crowdsourcing and crowdfunding platform that is used to develop the Hyperloop project. The main idea of the platform is to support the entrepreneur in the different stages of the development of his business from the idea, to the concept and then to funding. </a:t>
            </a:r>
          </a:p>
        </p:txBody>
      </p:sp>
      <p:graphicFrame>
        <p:nvGraphicFramePr>
          <p:cNvPr id="2" name="Object 1" hidden="1">
            <a:extLst>
              <a:ext uri="{FF2B5EF4-FFF2-40B4-BE49-F238E27FC236}">
                <a16:creationId xmlns:a16="http://schemas.microsoft.com/office/drawing/2014/main" id="{523C9041-C1CD-4509-8526-7B962C1C20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1" imgH="272" progId="TCLayout.ActiveDocument.1">
                  <p:embed/>
                </p:oleObj>
              </mc:Choice>
              <mc:Fallback>
                <p:oleObj name="think-cell Slide" r:id="rId8" imgW="271" imgH="272" progId="TCLayout.ActiveDocument.1">
                  <p:embed/>
                  <p:pic>
                    <p:nvPicPr>
                      <p:cNvPr id="2" name="Object 1" hidden="1">
                        <a:extLst>
                          <a:ext uri="{FF2B5EF4-FFF2-40B4-BE49-F238E27FC236}">
                            <a16:creationId xmlns:a16="http://schemas.microsoft.com/office/drawing/2014/main" id="{523C9041-C1CD-4509-8526-7B962C1C20C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a:solidFill>
                  <a:srgbClr val="00396F"/>
                </a:solidFill>
                <a:latin typeface="+mn-lt"/>
                <a:cs typeface="Calibri"/>
              </a:rPr>
              <a:t>Case Study: Jump Start Fund</a:t>
            </a:r>
            <a:endParaRPr sz="4000" dirty="0">
              <a:solidFill>
                <a:srgbClr val="BEBDBD"/>
              </a:solidFill>
            </a:endParaRPr>
          </a:p>
        </p:txBody>
      </p:sp>
      <p:sp>
        <p:nvSpPr>
          <p:cNvPr id="3" name="Slide Number Placeholder 6">
            <a:extLst>
              <a:ext uri="{FF2B5EF4-FFF2-40B4-BE49-F238E27FC236}">
                <a16:creationId xmlns:a16="http://schemas.microsoft.com/office/drawing/2014/main" id="{64BA54B7-C259-7BDA-8C13-9ED863A2276B}"/>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22</a:t>
            </a:fld>
            <a:endParaRPr lang="en-GB" dirty="0">
              <a:solidFill>
                <a:srgbClr val="00396F"/>
              </a:solidFill>
              <a:latin typeface="Abadi" panose="020B0604020104020204" pitchFamily="34" charset="0"/>
            </a:endParaRPr>
          </a:p>
        </p:txBody>
      </p:sp>
      <p:grpSp>
        <p:nvGrpSpPr>
          <p:cNvPr id="36" name="Group 35">
            <a:extLst>
              <a:ext uri="{FF2B5EF4-FFF2-40B4-BE49-F238E27FC236}">
                <a16:creationId xmlns:a16="http://schemas.microsoft.com/office/drawing/2014/main" id="{15758BB1-2A76-2A5E-8E50-4DB41E3EC2E8}"/>
              </a:ext>
            </a:extLst>
          </p:cNvPr>
          <p:cNvGrpSpPr>
            <a:grpSpLocks noChangeAspect="1"/>
          </p:cNvGrpSpPr>
          <p:nvPr/>
        </p:nvGrpSpPr>
        <p:grpSpPr>
          <a:xfrm>
            <a:off x="375547" y="2479039"/>
            <a:ext cx="11013813" cy="3709353"/>
            <a:chOff x="1104488" y="1459510"/>
            <a:chExt cx="9932291" cy="4640473"/>
          </a:xfrm>
        </p:grpSpPr>
        <p:pic>
          <p:nvPicPr>
            <p:cNvPr id="8196" name="Picture 4" descr="Crowdfunding Icon 1947790">
              <a:extLst>
                <a:ext uri="{FF2B5EF4-FFF2-40B4-BE49-F238E27FC236}">
                  <a16:creationId xmlns:a16="http://schemas.microsoft.com/office/drawing/2014/main" id="{E989B610-CA1A-4D46-BD5D-27C7C9606A9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96000" y="3185668"/>
              <a:ext cx="1208773" cy="1208773"/>
            </a:xfrm>
            <a:prstGeom prst="rect">
              <a:avLst/>
            </a:prstGeom>
            <a:noFill/>
            <a:extLst>
              <a:ext uri="{909E8E84-426E-40DD-AFC4-6F175D3DCCD1}">
                <a14:hiddenFill xmlns:a14="http://schemas.microsoft.com/office/drawing/2010/main">
                  <a:solidFill>
                    <a:srgbClr val="FFFFFF"/>
                  </a:solidFill>
                </a14:hiddenFill>
              </a:ext>
            </a:extLst>
          </p:spPr>
        </p:pic>
        <p:sp>
          <p:nvSpPr>
            <p:cNvPr id="8" name="Shape 34793">
              <a:extLst>
                <a:ext uri="{FF2B5EF4-FFF2-40B4-BE49-F238E27FC236}">
                  <a16:creationId xmlns:a16="http://schemas.microsoft.com/office/drawing/2014/main" id="{5623E527-A0FA-41BB-AFA8-E05D97BA3051}"/>
                </a:ext>
              </a:extLst>
            </p:cNvPr>
            <p:cNvSpPr/>
            <p:nvPr/>
          </p:nvSpPr>
          <p:spPr>
            <a:xfrm>
              <a:off x="6562910" y="2340729"/>
              <a:ext cx="741863" cy="1196775"/>
            </a:xfrm>
            <a:custGeom>
              <a:avLst/>
              <a:gdLst/>
              <a:ahLst/>
              <a:cxnLst>
                <a:cxn ang="0">
                  <a:pos x="wd2" y="hd2"/>
                </a:cxn>
                <a:cxn ang="5400000">
                  <a:pos x="wd2" y="hd2"/>
                </a:cxn>
                <a:cxn ang="10800000">
                  <a:pos x="wd2" y="hd2"/>
                </a:cxn>
                <a:cxn ang="16200000">
                  <a:pos x="wd2" y="hd2"/>
                </a:cxn>
              </a:cxnLst>
              <a:rect l="0" t="0" r="r" b="b"/>
              <a:pathLst>
                <a:path w="21600" h="21600" extrusionOk="0">
                  <a:moveTo>
                    <a:pt x="19139" y="19910"/>
                  </a:moveTo>
                  <a:cubicBezTo>
                    <a:pt x="19563" y="18972"/>
                    <a:pt x="20388" y="18123"/>
                    <a:pt x="21600" y="17369"/>
                  </a:cubicBezTo>
                  <a:cubicBezTo>
                    <a:pt x="21527" y="17292"/>
                    <a:pt x="21454" y="17215"/>
                    <a:pt x="21381" y="17139"/>
                  </a:cubicBezTo>
                  <a:cubicBezTo>
                    <a:pt x="20718" y="16444"/>
                    <a:pt x="20058" y="15749"/>
                    <a:pt x="19399" y="15052"/>
                  </a:cubicBezTo>
                  <a:cubicBezTo>
                    <a:pt x="18864" y="14487"/>
                    <a:pt x="18213" y="13915"/>
                    <a:pt x="17422" y="13475"/>
                  </a:cubicBezTo>
                  <a:cubicBezTo>
                    <a:pt x="16589" y="13012"/>
                    <a:pt x="15936" y="12803"/>
                    <a:pt x="14860" y="12664"/>
                  </a:cubicBezTo>
                  <a:cubicBezTo>
                    <a:pt x="14541" y="12623"/>
                    <a:pt x="13766" y="12575"/>
                    <a:pt x="13438" y="12575"/>
                  </a:cubicBezTo>
                  <a:cubicBezTo>
                    <a:pt x="6890" y="12575"/>
                    <a:pt x="7324" y="11364"/>
                    <a:pt x="7324" y="10085"/>
                  </a:cubicBezTo>
                  <a:lnTo>
                    <a:pt x="7324" y="3658"/>
                  </a:lnTo>
                  <a:lnTo>
                    <a:pt x="8708" y="3658"/>
                  </a:lnTo>
                  <a:lnTo>
                    <a:pt x="6531" y="1829"/>
                  </a:lnTo>
                  <a:lnTo>
                    <a:pt x="4354" y="0"/>
                  </a:lnTo>
                  <a:lnTo>
                    <a:pt x="2177" y="1829"/>
                  </a:lnTo>
                  <a:lnTo>
                    <a:pt x="0" y="3658"/>
                  </a:lnTo>
                  <a:lnTo>
                    <a:pt x="1384" y="3658"/>
                  </a:lnTo>
                  <a:cubicBezTo>
                    <a:pt x="1384" y="3658"/>
                    <a:pt x="1384" y="7956"/>
                    <a:pt x="1384" y="9708"/>
                  </a:cubicBezTo>
                  <a:cubicBezTo>
                    <a:pt x="1384" y="10414"/>
                    <a:pt x="651" y="16116"/>
                    <a:pt x="11451" y="16116"/>
                  </a:cubicBezTo>
                  <a:cubicBezTo>
                    <a:pt x="13350" y="16116"/>
                    <a:pt x="14221" y="17016"/>
                    <a:pt x="14518" y="17264"/>
                  </a:cubicBezTo>
                  <a:cubicBezTo>
                    <a:pt x="15547" y="18118"/>
                    <a:pt x="17378" y="20038"/>
                    <a:pt x="18825" y="21600"/>
                  </a:cubicBezTo>
                  <a:cubicBezTo>
                    <a:pt x="18791" y="21018"/>
                    <a:pt x="18893" y="20454"/>
                    <a:pt x="19139" y="19910"/>
                  </a:cubicBezTo>
                  <a:close/>
                </a:path>
              </a:pathLst>
            </a:custGeom>
            <a:solidFill>
              <a:schemeClr val="accent3">
                <a:lumMod val="90000"/>
              </a:schemeClr>
            </a:solidFill>
            <a:ln w="12700" cap="flat">
              <a:noFill/>
              <a:miter lim="400000"/>
            </a:ln>
            <a:effectLst/>
          </p:spPr>
          <p:txBody>
            <a:bodyPr wrap="square" lIns="38100" tIns="38100" rIns="38100" bIns="38100" numCol="1" anchor="ctr">
              <a:noAutofit/>
            </a:bodyPr>
            <a:lstStyle/>
            <a:p>
              <a:endParaRPr lang="en-US" sz="1400" dirty="0">
                <a:solidFill>
                  <a:srgbClr val="00396F"/>
                </a:solidFill>
              </a:endParaRPr>
            </a:p>
          </p:txBody>
        </p:sp>
        <p:sp>
          <p:nvSpPr>
            <p:cNvPr id="9" name="Shape 34794">
              <a:extLst>
                <a:ext uri="{FF2B5EF4-FFF2-40B4-BE49-F238E27FC236}">
                  <a16:creationId xmlns:a16="http://schemas.microsoft.com/office/drawing/2014/main" id="{D5B8D1D5-7785-40C1-80C3-561883CDDE1A}"/>
                </a:ext>
              </a:extLst>
            </p:cNvPr>
            <p:cNvSpPr/>
            <p:nvPr/>
          </p:nvSpPr>
          <p:spPr>
            <a:xfrm>
              <a:off x="6117770" y="4041798"/>
              <a:ext cx="741862" cy="1196779"/>
            </a:xfrm>
            <a:custGeom>
              <a:avLst/>
              <a:gdLst/>
              <a:ahLst/>
              <a:cxnLst>
                <a:cxn ang="0">
                  <a:pos x="wd2" y="hd2"/>
                </a:cxn>
                <a:cxn ang="5400000">
                  <a:pos x="wd2" y="hd2"/>
                </a:cxn>
                <a:cxn ang="10800000">
                  <a:pos x="wd2" y="hd2"/>
                </a:cxn>
                <a:cxn ang="16200000">
                  <a:pos x="wd2" y="hd2"/>
                </a:cxn>
              </a:cxnLst>
              <a:rect l="0" t="0" r="r" b="b"/>
              <a:pathLst>
                <a:path w="21600" h="21600" extrusionOk="0">
                  <a:moveTo>
                    <a:pt x="2461" y="1690"/>
                  </a:moveTo>
                  <a:cubicBezTo>
                    <a:pt x="2037" y="2628"/>
                    <a:pt x="1212" y="3477"/>
                    <a:pt x="0" y="4231"/>
                  </a:cubicBezTo>
                  <a:cubicBezTo>
                    <a:pt x="73" y="4308"/>
                    <a:pt x="146" y="4385"/>
                    <a:pt x="219" y="4461"/>
                  </a:cubicBezTo>
                  <a:cubicBezTo>
                    <a:pt x="882" y="5156"/>
                    <a:pt x="1542" y="5851"/>
                    <a:pt x="2201" y="6548"/>
                  </a:cubicBezTo>
                  <a:cubicBezTo>
                    <a:pt x="2736" y="7113"/>
                    <a:pt x="3387" y="7686"/>
                    <a:pt x="4178" y="8125"/>
                  </a:cubicBezTo>
                  <a:cubicBezTo>
                    <a:pt x="5011" y="8588"/>
                    <a:pt x="5664" y="8797"/>
                    <a:pt x="6740" y="8936"/>
                  </a:cubicBezTo>
                  <a:cubicBezTo>
                    <a:pt x="7059" y="8978"/>
                    <a:pt x="7834" y="9025"/>
                    <a:pt x="8162" y="9025"/>
                  </a:cubicBezTo>
                  <a:cubicBezTo>
                    <a:pt x="14710" y="9025"/>
                    <a:pt x="14276" y="10236"/>
                    <a:pt x="14276" y="11515"/>
                  </a:cubicBezTo>
                  <a:lnTo>
                    <a:pt x="14276" y="17942"/>
                  </a:lnTo>
                  <a:lnTo>
                    <a:pt x="12892" y="17942"/>
                  </a:lnTo>
                  <a:lnTo>
                    <a:pt x="15069" y="19771"/>
                  </a:lnTo>
                  <a:lnTo>
                    <a:pt x="17246" y="21600"/>
                  </a:lnTo>
                  <a:lnTo>
                    <a:pt x="19423" y="19771"/>
                  </a:lnTo>
                  <a:lnTo>
                    <a:pt x="21600" y="17942"/>
                  </a:lnTo>
                  <a:lnTo>
                    <a:pt x="20216" y="17942"/>
                  </a:lnTo>
                  <a:cubicBezTo>
                    <a:pt x="20216" y="17942"/>
                    <a:pt x="20216" y="13644"/>
                    <a:pt x="20216" y="11892"/>
                  </a:cubicBezTo>
                  <a:cubicBezTo>
                    <a:pt x="20216" y="11186"/>
                    <a:pt x="20949" y="5484"/>
                    <a:pt x="10149" y="5484"/>
                  </a:cubicBezTo>
                  <a:cubicBezTo>
                    <a:pt x="8250" y="5484"/>
                    <a:pt x="7379" y="4584"/>
                    <a:pt x="7082" y="4336"/>
                  </a:cubicBezTo>
                  <a:cubicBezTo>
                    <a:pt x="6053" y="3482"/>
                    <a:pt x="4222" y="1562"/>
                    <a:pt x="2775" y="0"/>
                  </a:cubicBezTo>
                  <a:cubicBezTo>
                    <a:pt x="2809" y="582"/>
                    <a:pt x="2707" y="1146"/>
                    <a:pt x="2461" y="1690"/>
                  </a:cubicBezTo>
                  <a:close/>
                </a:path>
              </a:pathLst>
            </a:custGeom>
            <a:solidFill>
              <a:srgbClr val="FF0000"/>
            </a:solidFill>
            <a:ln w="12700" cap="flat">
              <a:noFill/>
              <a:miter lim="400000"/>
            </a:ln>
            <a:effectLst/>
          </p:spPr>
          <p:txBody>
            <a:bodyPr wrap="square" lIns="0" tIns="0" rIns="0" bIns="0" numCol="1" anchor="t">
              <a:noAutofit/>
            </a:bodyPr>
            <a:lstStyle/>
            <a:p>
              <a:pPr algn="ctr"/>
              <a:endParaRPr lang="en-US" sz="1400" dirty="0">
                <a:solidFill>
                  <a:srgbClr val="00396F"/>
                </a:solidFill>
              </a:endParaRPr>
            </a:p>
          </p:txBody>
        </p:sp>
        <p:sp>
          <p:nvSpPr>
            <p:cNvPr id="10" name="Shape 34795">
              <a:extLst>
                <a:ext uri="{FF2B5EF4-FFF2-40B4-BE49-F238E27FC236}">
                  <a16:creationId xmlns:a16="http://schemas.microsoft.com/office/drawing/2014/main" id="{DF3C408C-2E21-423F-90C5-CE14F16CE2E9}"/>
                </a:ext>
              </a:extLst>
            </p:cNvPr>
            <p:cNvSpPr/>
            <p:nvPr/>
          </p:nvSpPr>
          <p:spPr>
            <a:xfrm>
              <a:off x="5458010" y="3032285"/>
              <a:ext cx="1284947" cy="456805"/>
            </a:xfrm>
            <a:custGeom>
              <a:avLst/>
              <a:gdLst/>
              <a:ahLst/>
              <a:cxnLst>
                <a:cxn ang="0">
                  <a:pos x="wd2" y="hd2"/>
                </a:cxn>
                <a:cxn ang="5400000">
                  <a:pos x="wd2" y="hd2"/>
                </a:cxn>
                <a:cxn ang="10800000">
                  <a:pos x="wd2" y="hd2"/>
                </a:cxn>
                <a:cxn ang="16200000">
                  <a:pos x="wd2" y="hd2"/>
                </a:cxn>
              </a:cxnLst>
              <a:rect l="0" t="0" r="r" b="b"/>
              <a:pathLst>
                <a:path w="21600" h="16769" extrusionOk="0">
                  <a:moveTo>
                    <a:pt x="20328" y="5271"/>
                  </a:moveTo>
                  <a:cubicBezTo>
                    <a:pt x="19693" y="3854"/>
                    <a:pt x="19246" y="2090"/>
                    <a:pt x="18988" y="0"/>
                  </a:cubicBezTo>
                  <a:cubicBezTo>
                    <a:pt x="18905" y="2"/>
                    <a:pt x="18822" y="3"/>
                    <a:pt x="18740" y="5"/>
                  </a:cubicBezTo>
                  <a:cubicBezTo>
                    <a:pt x="17988" y="22"/>
                    <a:pt x="17236" y="36"/>
                    <a:pt x="16485" y="47"/>
                  </a:cubicBezTo>
                  <a:cubicBezTo>
                    <a:pt x="15874" y="56"/>
                    <a:pt x="15224" y="186"/>
                    <a:pt x="14642" y="602"/>
                  </a:cubicBezTo>
                  <a:cubicBezTo>
                    <a:pt x="14027" y="1042"/>
                    <a:pt x="13671" y="1542"/>
                    <a:pt x="13248" y="2574"/>
                  </a:cubicBezTo>
                  <a:cubicBezTo>
                    <a:pt x="13122" y="2881"/>
                    <a:pt x="12860" y="3678"/>
                    <a:pt x="12765" y="4037"/>
                  </a:cubicBezTo>
                  <a:cubicBezTo>
                    <a:pt x="10875" y="11186"/>
                    <a:pt x="10023" y="9481"/>
                    <a:pt x="8992" y="8180"/>
                  </a:cubicBezTo>
                  <a:lnTo>
                    <a:pt x="3808" y="1645"/>
                  </a:lnTo>
                  <a:lnTo>
                    <a:pt x="4208" y="134"/>
                  </a:lnTo>
                  <a:lnTo>
                    <a:pt x="2104" y="651"/>
                  </a:lnTo>
                  <a:lnTo>
                    <a:pt x="0" y="1167"/>
                  </a:lnTo>
                  <a:lnTo>
                    <a:pt x="847" y="5405"/>
                  </a:lnTo>
                  <a:lnTo>
                    <a:pt x="1694" y="9642"/>
                  </a:lnTo>
                  <a:lnTo>
                    <a:pt x="2093" y="8131"/>
                  </a:lnTo>
                  <a:cubicBezTo>
                    <a:pt x="2093" y="8131"/>
                    <a:pt x="5560" y="12502"/>
                    <a:pt x="6973" y="14283"/>
                  </a:cubicBezTo>
                  <a:cubicBezTo>
                    <a:pt x="7543" y="15001"/>
                    <a:pt x="11930" y="21600"/>
                    <a:pt x="15048" y="9808"/>
                  </a:cubicBezTo>
                  <a:cubicBezTo>
                    <a:pt x="15596" y="7734"/>
                    <a:pt x="16574" y="7699"/>
                    <a:pt x="16859" y="7626"/>
                  </a:cubicBezTo>
                  <a:cubicBezTo>
                    <a:pt x="17845" y="7372"/>
                    <a:pt x="19923" y="7324"/>
                    <a:pt x="21600" y="7333"/>
                  </a:cubicBezTo>
                  <a:cubicBezTo>
                    <a:pt x="21121" y="6779"/>
                    <a:pt x="20695" y="6093"/>
                    <a:pt x="20328" y="5271"/>
                  </a:cubicBezTo>
                  <a:close/>
                </a:path>
              </a:pathLst>
            </a:custGeom>
            <a:solidFill>
              <a:schemeClr val="tx2"/>
            </a:solidFill>
            <a:ln w="12700" cap="flat">
              <a:noFill/>
              <a:miter lim="400000"/>
            </a:ln>
            <a:effectLst/>
          </p:spPr>
          <p:txBody>
            <a:bodyPr wrap="square" lIns="0" tIns="0" rIns="0" bIns="0" numCol="1" anchor="t">
              <a:noAutofit/>
            </a:bodyPr>
            <a:lstStyle/>
            <a:p>
              <a:pPr algn="ctr"/>
              <a:endParaRPr lang="en-US" sz="1400" dirty="0">
                <a:solidFill>
                  <a:srgbClr val="00396F"/>
                </a:solidFill>
              </a:endParaRPr>
            </a:p>
          </p:txBody>
        </p:sp>
        <p:sp>
          <p:nvSpPr>
            <p:cNvPr id="11" name="Shape 34796">
              <a:extLst>
                <a:ext uri="{FF2B5EF4-FFF2-40B4-BE49-F238E27FC236}">
                  <a16:creationId xmlns:a16="http://schemas.microsoft.com/office/drawing/2014/main" id="{16FBE448-FEA4-40E3-8244-2E42049347F6}"/>
                </a:ext>
              </a:extLst>
            </p:cNvPr>
            <p:cNvSpPr/>
            <p:nvPr/>
          </p:nvSpPr>
          <p:spPr>
            <a:xfrm>
              <a:off x="6682144" y="4089492"/>
              <a:ext cx="1284955" cy="456801"/>
            </a:xfrm>
            <a:custGeom>
              <a:avLst/>
              <a:gdLst/>
              <a:ahLst/>
              <a:cxnLst>
                <a:cxn ang="0">
                  <a:pos x="wd2" y="hd2"/>
                </a:cxn>
                <a:cxn ang="5400000">
                  <a:pos x="wd2" y="hd2"/>
                </a:cxn>
                <a:cxn ang="10800000">
                  <a:pos x="wd2" y="hd2"/>
                </a:cxn>
                <a:cxn ang="16200000">
                  <a:pos x="wd2" y="hd2"/>
                </a:cxn>
              </a:cxnLst>
              <a:rect l="0" t="0" r="r" b="b"/>
              <a:pathLst>
                <a:path w="21600" h="16769" extrusionOk="0">
                  <a:moveTo>
                    <a:pt x="1273" y="11498"/>
                  </a:moveTo>
                  <a:cubicBezTo>
                    <a:pt x="1907" y="12915"/>
                    <a:pt x="2354" y="14679"/>
                    <a:pt x="2612" y="16769"/>
                  </a:cubicBezTo>
                  <a:cubicBezTo>
                    <a:pt x="2695" y="16767"/>
                    <a:pt x="2778" y="16766"/>
                    <a:pt x="2861" y="16764"/>
                  </a:cubicBezTo>
                  <a:cubicBezTo>
                    <a:pt x="3612" y="16747"/>
                    <a:pt x="4364" y="16733"/>
                    <a:pt x="5116" y="16722"/>
                  </a:cubicBezTo>
                  <a:cubicBezTo>
                    <a:pt x="5726" y="16713"/>
                    <a:pt x="6376" y="16583"/>
                    <a:pt x="6958" y="16167"/>
                  </a:cubicBezTo>
                  <a:cubicBezTo>
                    <a:pt x="7573" y="15728"/>
                    <a:pt x="7930" y="15227"/>
                    <a:pt x="8352" y="14195"/>
                  </a:cubicBezTo>
                  <a:cubicBezTo>
                    <a:pt x="8478" y="13888"/>
                    <a:pt x="8740" y="13091"/>
                    <a:pt x="8835" y="12732"/>
                  </a:cubicBezTo>
                  <a:cubicBezTo>
                    <a:pt x="10725" y="5583"/>
                    <a:pt x="11577" y="7288"/>
                    <a:pt x="12608" y="8589"/>
                  </a:cubicBezTo>
                  <a:lnTo>
                    <a:pt x="17792" y="15124"/>
                  </a:lnTo>
                  <a:lnTo>
                    <a:pt x="17392" y="16635"/>
                  </a:lnTo>
                  <a:lnTo>
                    <a:pt x="19496" y="16118"/>
                  </a:lnTo>
                  <a:lnTo>
                    <a:pt x="21600" y="15601"/>
                  </a:lnTo>
                  <a:lnTo>
                    <a:pt x="20753" y="11364"/>
                  </a:lnTo>
                  <a:lnTo>
                    <a:pt x="19906" y="7127"/>
                  </a:lnTo>
                  <a:lnTo>
                    <a:pt x="19507" y="8638"/>
                  </a:lnTo>
                  <a:cubicBezTo>
                    <a:pt x="19507" y="8638"/>
                    <a:pt x="16040" y="4267"/>
                    <a:pt x="14627" y="2486"/>
                  </a:cubicBezTo>
                  <a:cubicBezTo>
                    <a:pt x="14058" y="1768"/>
                    <a:pt x="9670" y="-4831"/>
                    <a:pt x="6552" y="6961"/>
                  </a:cubicBezTo>
                  <a:cubicBezTo>
                    <a:pt x="6004" y="9035"/>
                    <a:pt x="5026" y="9070"/>
                    <a:pt x="4741" y="9143"/>
                  </a:cubicBezTo>
                  <a:cubicBezTo>
                    <a:pt x="3755" y="9397"/>
                    <a:pt x="1678" y="9445"/>
                    <a:pt x="0" y="9436"/>
                  </a:cubicBezTo>
                  <a:cubicBezTo>
                    <a:pt x="479" y="9990"/>
                    <a:pt x="905" y="10676"/>
                    <a:pt x="1273" y="11498"/>
                  </a:cubicBezTo>
                  <a:close/>
                </a:path>
              </a:pathLst>
            </a:custGeom>
            <a:solidFill>
              <a:schemeClr val="accent1"/>
            </a:solidFill>
            <a:ln w="12700" cap="flat">
              <a:noFill/>
              <a:miter lim="400000"/>
            </a:ln>
            <a:effectLst/>
          </p:spPr>
          <p:txBody>
            <a:bodyPr wrap="square" lIns="38100" tIns="38100" rIns="38100" bIns="38100" numCol="1" anchor="ctr">
              <a:noAutofit/>
            </a:bodyPr>
            <a:lstStyle/>
            <a:p>
              <a:endParaRPr lang="en-US" sz="1400" dirty="0">
                <a:solidFill>
                  <a:srgbClr val="00396F"/>
                </a:solidFill>
              </a:endParaRPr>
            </a:p>
          </p:txBody>
        </p:sp>
        <p:sp>
          <p:nvSpPr>
            <p:cNvPr id="12" name="Shape 34797">
              <a:extLst>
                <a:ext uri="{FF2B5EF4-FFF2-40B4-BE49-F238E27FC236}">
                  <a16:creationId xmlns:a16="http://schemas.microsoft.com/office/drawing/2014/main" id="{3802B15A-7DCE-4677-B720-D19CB1933D13}"/>
                </a:ext>
              </a:extLst>
            </p:cNvPr>
            <p:cNvSpPr/>
            <p:nvPr/>
          </p:nvSpPr>
          <p:spPr>
            <a:xfrm>
              <a:off x="7174976" y="3032285"/>
              <a:ext cx="787922" cy="1056974"/>
            </a:xfrm>
            <a:custGeom>
              <a:avLst/>
              <a:gdLst/>
              <a:ahLst/>
              <a:cxnLst>
                <a:cxn ang="0">
                  <a:pos x="wd2" y="hd2"/>
                </a:cxn>
                <a:cxn ang="5400000">
                  <a:pos x="wd2" y="hd2"/>
                </a:cxn>
                <a:cxn ang="10800000">
                  <a:pos x="wd2" y="hd2"/>
                </a:cxn>
                <a:cxn ang="16200000">
                  <a:pos x="wd2" y="hd2"/>
                </a:cxn>
              </a:cxnLst>
              <a:rect l="0" t="0" r="r" b="b"/>
              <a:pathLst>
                <a:path w="20336" h="21600" extrusionOk="0">
                  <a:moveTo>
                    <a:pt x="2232" y="20834"/>
                  </a:moveTo>
                  <a:cubicBezTo>
                    <a:pt x="3582" y="20561"/>
                    <a:pt x="4999" y="20581"/>
                    <a:pt x="6470" y="20891"/>
                  </a:cubicBezTo>
                  <a:cubicBezTo>
                    <a:pt x="6533" y="20803"/>
                    <a:pt x="6595" y="20716"/>
                    <a:pt x="6658" y="20628"/>
                  </a:cubicBezTo>
                  <a:cubicBezTo>
                    <a:pt x="7224" y="19832"/>
                    <a:pt x="7793" y="19036"/>
                    <a:pt x="8363" y="18242"/>
                  </a:cubicBezTo>
                  <a:cubicBezTo>
                    <a:pt x="8826" y="17597"/>
                    <a:pt x="9246" y="16877"/>
                    <a:pt x="9440" y="16148"/>
                  </a:cubicBezTo>
                  <a:cubicBezTo>
                    <a:pt x="9644" y="15379"/>
                    <a:pt x="9613" y="14863"/>
                    <a:pt x="9309" y="14131"/>
                  </a:cubicBezTo>
                  <a:cubicBezTo>
                    <a:pt x="9219" y="13913"/>
                    <a:pt x="8935" y="13415"/>
                    <a:pt x="8789" y="13216"/>
                  </a:cubicBezTo>
                  <a:cubicBezTo>
                    <a:pt x="5887" y="9236"/>
                    <a:pt x="7579" y="8814"/>
                    <a:pt x="9163" y="8090"/>
                  </a:cubicBezTo>
                  <a:lnTo>
                    <a:pt x="17122" y="4452"/>
                  </a:lnTo>
                  <a:lnTo>
                    <a:pt x="17735" y="5293"/>
                  </a:lnTo>
                  <a:lnTo>
                    <a:pt x="19036" y="2934"/>
                  </a:lnTo>
                  <a:lnTo>
                    <a:pt x="20336" y="575"/>
                  </a:lnTo>
                  <a:lnTo>
                    <a:pt x="17106" y="288"/>
                  </a:lnTo>
                  <a:lnTo>
                    <a:pt x="13876" y="0"/>
                  </a:lnTo>
                  <a:lnTo>
                    <a:pt x="14489" y="841"/>
                  </a:lnTo>
                  <a:cubicBezTo>
                    <a:pt x="14489" y="841"/>
                    <a:pt x="9166" y="3274"/>
                    <a:pt x="6997" y="4266"/>
                  </a:cubicBezTo>
                  <a:cubicBezTo>
                    <a:pt x="6123" y="4666"/>
                    <a:pt x="-1264" y="7448"/>
                    <a:pt x="3523" y="14013"/>
                  </a:cubicBezTo>
                  <a:cubicBezTo>
                    <a:pt x="4365" y="15167"/>
                    <a:pt x="3636" y="16206"/>
                    <a:pt x="3461" y="16527"/>
                  </a:cubicBezTo>
                  <a:cubicBezTo>
                    <a:pt x="2859" y="17636"/>
                    <a:pt x="1293" y="19836"/>
                    <a:pt x="0" y="21600"/>
                  </a:cubicBezTo>
                  <a:cubicBezTo>
                    <a:pt x="705" y="21250"/>
                    <a:pt x="1449" y="20993"/>
                    <a:pt x="2232" y="20834"/>
                  </a:cubicBezTo>
                  <a:close/>
                </a:path>
              </a:pathLst>
            </a:custGeom>
            <a:solidFill>
              <a:schemeClr val="accent2"/>
            </a:solidFill>
            <a:ln w="12700" cap="flat">
              <a:noFill/>
              <a:miter lim="400000"/>
            </a:ln>
            <a:effectLst/>
          </p:spPr>
          <p:txBody>
            <a:bodyPr wrap="square" lIns="38100" tIns="38100" rIns="38100" bIns="38100" numCol="1" anchor="ctr">
              <a:noAutofit/>
            </a:bodyPr>
            <a:lstStyle/>
            <a:p>
              <a:endParaRPr lang="en-US" sz="1400" dirty="0">
                <a:solidFill>
                  <a:srgbClr val="00396F"/>
                </a:solidFill>
              </a:endParaRPr>
            </a:p>
          </p:txBody>
        </p:sp>
        <p:sp>
          <p:nvSpPr>
            <p:cNvPr id="13" name="Shape 34798">
              <a:extLst>
                <a:ext uri="{FF2B5EF4-FFF2-40B4-BE49-F238E27FC236}">
                  <a16:creationId xmlns:a16="http://schemas.microsoft.com/office/drawing/2014/main" id="{14A096F4-474D-48FC-9C23-9AC533D5FC02}"/>
                </a:ext>
              </a:extLst>
            </p:cNvPr>
            <p:cNvSpPr/>
            <p:nvPr/>
          </p:nvSpPr>
          <p:spPr>
            <a:xfrm>
              <a:off x="5458010" y="3485374"/>
              <a:ext cx="787929" cy="1056974"/>
            </a:xfrm>
            <a:custGeom>
              <a:avLst/>
              <a:gdLst/>
              <a:ahLst/>
              <a:cxnLst>
                <a:cxn ang="0">
                  <a:pos x="wd2" y="hd2"/>
                </a:cxn>
                <a:cxn ang="5400000">
                  <a:pos x="wd2" y="hd2"/>
                </a:cxn>
                <a:cxn ang="10800000">
                  <a:pos x="wd2" y="hd2"/>
                </a:cxn>
                <a:cxn ang="16200000">
                  <a:pos x="wd2" y="hd2"/>
                </a:cxn>
              </a:cxnLst>
              <a:rect l="0" t="0" r="r" b="b"/>
              <a:pathLst>
                <a:path w="20336" h="21600" extrusionOk="0">
                  <a:moveTo>
                    <a:pt x="18104" y="766"/>
                  </a:moveTo>
                  <a:cubicBezTo>
                    <a:pt x="16754" y="1039"/>
                    <a:pt x="15337" y="1019"/>
                    <a:pt x="13866" y="709"/>
                  </a:cubicBezTo>
                  <a:cubicBezTo>
                    <a:pt x="13804" y="796"/>
                    <a:pt x="13741" y="884"/>
                    <a:pt x="13678" y="972"/>
                  </a:cubicBezTo>
                  <a:cubicBezTo>
                    <a:pt x="13112" y="1768"/>
                    <a:pt x="12543" y="2563"/>
                    <a:pt x="11973" y="3358"/>
                  </a:cubicBezTo>
                  <a:cubicBezTo>
                    <a:pt x="11510" y="4003"/>
                    <a:pt x="11090" y="4723"/>
                    <a:pt x="10896" y="5452"/>
                  </a:cubicBezTo>
                  <a:cubicBezTo>
                    <a:pt x="10692" y="6221"/>
                    <a:pt x="10723" y="6736"/>
                    <a:pt x="11027" y="7469"/>
                  </a:cubicBezTo>
                  <a:cubicBezTo>
                    <a:pt x="11117" y="7686"/>
                    <a:pt x="11401" y="8185"/>
                    <a:pt x="11546" y="8384"/>
                  </a:cubicBezTo>
                  <a:cubicBezTo>
                    <a:pt x="14449" y="12364"/>
                    <a:pt x="12757" y="12786"/>
                    <a:pt x="11173" y="13510"/>
                  </a:cubicBezTo>
                  <a:lnTo>
                    <a:pt x="3214" y="17148"/>
                  </a:lnTo>
                  <a:lnTo>
                    <a:pt x="2601" y="16307"/>
                  </a:lnTo>
                  <a:lnTo>
                    <a:pt x="1300" y="18666"/>
                  </a:lnTo>
                  <a:lnTo>
                    <a:pt x="0" y="21025"/>
                  </a:lnTo>
                  <a:lnTo>
                    <a:pt x="3230" y="21312"/>
                  </a:lnTo>
                  <a:lnTo>
                    <a:pt x="6460" y="21600"/>
                  </a:lnTo>
                  <a:lnTo>
                    <a:pt x="5847" y="20759"/>
                  </a:lnTo>
                  <a:cubicBezTo>
                    <a:pt x="5847" y="20759"/>
                    <a:pt x="11170" y="18325"/>
                    <a:pt x="13339" y="17334"/>
                  </a:cubicBezTo>
                  <a:cubicBezTo>
                    <a:pt x="14213" y="16934"/>
                    <a:pt x="21600" y="14151"/>
                    <a:pt x="16813" y="7587"/>
                  </a:cubicBezTo>
                  <a:cubicBezTo>
                    <a:pt x="15971" y="6432"/>
                    <a:pt x="16701" y="5394"/>
                    <a:pt x="16875" y="5073"/>
                  </a:cubicBezTo>
                  <a:cubicBezTo>
                    <a:pt x="17477" y="3964"/>
                    <a:pt x="19043" y="1764"/>
                    <a:pt x="20336" y="0"/>
                  </a:cubicBezTo>
                  <a:cubicBezTo>
                    <a:pt x="19631" y="350"/>
                    <a:pt x="18887" y="607"/>
                    <a:pt x="18104" y="766"/>
                  </a:cubicBezTo>
                  <a:close/>
                </a:path>
              </a:pathLst>
            </a:custGeom>
            <a:solidFill>
              <a:schemeClr val="tx2">
                <a:lumMod val="60000"/>
                <a:lumOff val="40000"/>
              </a:schemeClr>
            </a:solidFill>
            <a:ln w="12700" cap="flat">
              <a:noFill/>
              <a:miter lim="400000"/>
            </a:ln>
            <a:effectLst/>
          </p:spPr>
          <p:txBody>
            <a:bodyPr wrap="square" lIns="0" tIns="0" rIns="0" bIns="0" numCol="1" anchor="t">
              <a:noAutofit/>
            </a:bodyPr>
            <a:lstStyle/>
            <a:p>
              <a:pPr algn="ctr"/>
              <a:endParaRPr lang="en-US" sz="1400" dirty="0">
                <a:solidFill>
                  <a:srgbClr val="00396F"/>
                </a:solidFill>
              </a:endParaRPr>
            </a:p>
          </p:txBody>
        </p:sp>
        <p:sp>
          <p:nvSpPr>
            <p:cNvPr id="14" name="Content Placeholder 5">
              <a:extLst>
                <a:ext uri="{FF2B5EF4-FFF2-40B4-BE49-F238E27FC236}">
                  <a16:creationId xmlns:a16="http://schemas.microsoft.com/office/drawing/2014/main" id="{2D0B742E-4104-4F0C-BAE5-316B986CD48D}"/>
                </a:ext>
              </a:extLst>
            </p:cNvPr>
            <p:cNvSpPr txBox="1">
              <a:spLocks/>
            </p:cNvSpPr>
            <p:nvPr/>
          </p:nvSpPr>
          <p:spPr>
            <a:xfrm>
              <a:off x="2225825" y="1459510"/>
              <a:ext cx="4337085" cy="990887"/>
            </a:xfrm>
            <a:prstGeom prst="rect">
              <a:avLst/>
            </a:prstGeom>
            <a:ln w="9525">
              <a:noFill/>
            </a:ln>
          </p:spPr>
          <p:txBody>
            <a:bodyPr vert="horz" lIns="0" tIns="0" rIns="0" bIns="0"/>
            <a:lstStyle>
              <a:lvl1pPr marL="0" indent="0" algn="l" defTabSz="914400" rtl="0" eaLnBrk="1" latinLnBrk="0" hangingPunct="1">
                <a:lnSpc>
                  <a:spcPct val="100000"/>
                </a:lnSpc>
                <a:spcBef>
                  <a:spcPts val="800"/>
                </a:spcBef>
                <a:buFontTx/>
                <a:buNone/>
                <a:defRPr sz="1600" kern="1200" spc="0" baseline="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800"/>
                </a:spcBef>
                <a:spcAft>
                  <a:spcPts val="0"/>
                </a:spcAft>
                <a:buFontTx/>
                <a:buNone/>
                <a:defRPr sz="1400" kern="1200" spc="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800"/>
                </a:spcBef>
                <a:buFont typeface="Symbol" panose="05050102010706020507" pitchFamily="18" charset="2"/>
                <a:buChar char=""/>
                <a:defRPr sz="1400" kern="1200" spc="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5pPr>
              <a:lvl6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9pPr>
            </a:lstStyle>
            <a:p>
              <a:pPr algn="r"/>
              <a:r>
                <a:rPr lang="en-US" sz="1400" b="1" dirty="0">
                  <a:solidFill>
                    <a:srgbClr val="00396F"/>
                  </a:solidFill>
                </a:rPr>
                <a:t>Participation threshold</a:t>
              </a:r>
            </a:p>
            <a:p>
              <a:r>
                <a:rPr lang="en-US" sz="1400" dirty="0">
                  <a:solidFill>
                    <a:srgbClr val="00396F"/>
                  </a:solidFill>
                </a:rPr>
                <a:t>Refers to the investment that is made upfront in order to be able to participate in the crowdfunding campaign, which is zero. </a:t>
              </a:r>
            </a:p>
          </p:txBody>
        </p:sp>
        <p:sp>
          <p:nvSpPr>
            <p:cNvPr id="15" name="Content Placeholder 5">
              <a:extLst>
                <a:ext uri="{FF2B5EF4-FFF2-40B4-BE49-F238E27FC236}">
                  <a16:creationId xmlns:a16="http://schemas.microsoft.com/office/drawing/2014/main" id="{F6FACDA6-48EC-4C9E-A2F3-C32EFF077A04}"/>
                </a:ext>
              </a:extLst>
            </p:cNvPr>
            <p:cNvSpPr txBox="1">
              <a:spLocks/>
            </p:cNvSpPr>
            <p:nvPr/>
          </p:nvSpPr>
          <p:spPr>
            <a:xfrm>
              <a:off x="8629952" y="4583095"/>
              <a:ext cx="2296760" cy="1516888"/>
            </a:xfrm>
            <a:prstGeom prst="rect">
              <a:avLst/>
            </a:prstGeom>
            <a:ln w="9525">
              <a:noFill/>
            </a:ln>
          </p:spPr>
          <p:txBody>
            <a:bodyPr vert="horz" lIns="0" tIns="0" rIns="0" bIns="0"/>
            <a:lstStyle>
              <a:lvl1pPr marL="0" indent="0" algn="l" defTabSz="914400" rtl="0" eaLnBrk="1" latinLnBrk="0" hangingPunct="1">
                <a:lnSpc>
                  <a:spcPct val="100000"/>
                </a:lnSpc>
                <a:spcBef>
                  <a:spcPts val="800"/>
                </a:spcBef>
                <a:buFontTx/>
                <a:buNone/>
                <a:defRPr sz="1600" kern="1200" spc="0" baseline="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800"/>
                </a:spcBef>
                <a:spcAft>
                  <a:spcPts val="0"/>
                </a:spcAft>
                <a:buFontTx/>
                <a:buNone/>
                <a:defRPr sz="1400" kern="1200" spc="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800"/>
                </a:spcBef>
                <a:buFont typeface="Symbol" panose="05050102010706020507" pitchFamily="18" charset="2"/>
                <a:buChar char=""/>
                <a:defRPr sz="1400" kern="1200" spc="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5pPr>
              <a:lvl6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9pPr>
            </a:lstStyle>
            <a:p>
              <a:r>
                <a:rPr lang="en-US" sz="1400" b="1" dirty="0">
                  <a:solidFill>
                    <a:srgbClr val="00396F"/>
                  </a:solidFill>
                </a:rPr>
                <a:t>Participation structure</a:t>
              </a:r>
            </a:p>
            <a:p>
              <a:pPr lvl="1"/>
              <a:r>
                <a:rPr lang="en-US" dirty="0">
                  <a:solidFill>
                    <a:srgbClr val="00396F"/>
                  </a:solidFill>
                </a:rPr>
                <a:t>The platform features a structured comment section that revolves around certain topics (i.e., problems that need to be solved). </a:t>
              </a:r>
            </a:p>
          </p:txBody>
        </p:sp>
        <p:sp>
          <p:nvSpPr>
            <p:cNvPr id="16" name="Content Placeholder 5">
              <a:extLst>
                <a:ext uri="{FF2B5EF4-FFF2-40B4-BE49-F238E27FC236}">
                  <a16:creationId xmlns:a16="http://schemas.microsoft.com/office/drawing/2014/main" id="{F3A8637B-4443-46E5-954A-4F9D2E2303B4}"/>
                </a:ext>
              </a:extLst>
            </p:cNvPr>
            <p:cNvSpPr txBox="1">
              <a:spLocks/>
            </p:cNvSpPr>
            <p:nvPr/>
          </p:nvSpPr>
          <p:spPr>
            <a:xfrm>
              <a:off x="8740019" y="1736962"/>
              <a:ext cx="2296760" cy="1207533"/>
            </a:xfrm>
            <a:prstGeom prst="rect">
              <a:avLst/>
            </a:prstGeom>
            <a:ln w="9525">
              <a:noFill/>
            </a:ln>
          </p:spPr>
          <p:txBody>
            <a:bodyPr vert="horz" lIns="0" tIns="0" rIns="0" bIns="0"/>
            <a:lstStyle>
              <a:lvl1pPr marL="0" indent="0" algn="l" defTabSz="914400" rtl="0" eaLnBrk="1" latinLnBrk="0" hangingPunct="1">
                <a:lnSpc>
                  <a:spcPct val="100000"/>
                </a:lnSpc>
                <a:spcBef>
                  <a:spcPts val="800"/>
                </a:spcBef>
                <a:buFontTx/>
                <a:buNone/>
                <a:defRPr sz="1600" kern="1200" spc="0" baseline="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800"/>
                </a:spcBef>
                <a:spcAft>
                  <a:spcPts val="0"/>
                </a:spcAft>
                <a:buFontTx/>
                <a:buNone/>
                <a:defRPr sz="1400" kern="1200" spc="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800"/>
                </a:spcBef>
                <a:buFont typeface="Symbol" panose="05050102010706020507" pitchFamily="18" charset="2"/>
                <a:buChar char=""/>
                <a:defRPr sz="1400" kern="1200" spc="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5pPr>
              <a:lvl6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9pPr>
            </a:lstStyle>
            <a:p>
              <a:r>
                <a:rPr lang="en-US" sz="1400" b="1" dirty="0">
                  <a:solidFill>
                    <a:srgbClr val="00396F"/>
                  </a:solidFill>
                </a:rPr>
                <a:t>Resource exchange</a:t>
              </a:r>
            </a:p>
            <a:p>
              <a:pPr lvl="1"/>
              <a:r>
                <a:rPr lang="en-US" dirty="0">
                  <a:solidFill>
                    <a:srgbClr val="00396F"/>
                  </a:solidFill>
                </a:rPr>
                <a:t>The platform allows you to upload files, i.e., you can exchange resources of different formats (e.g., documents, pictures and videos)</a:t>
              </a:r>
            </a:p>
          </p:txBody>
        </p:sp>
        <p:sp>
          <p:nvSpPr>
            <p:cNvPr id="17" name="Content Placeholder 5">
              <a:extLst>
                <a:ext uri="{FF2B5EF4-FFF2-40B4-BE49-F238E27FC236}">
                  <a16:creationId xmlns:a16="http://schemas.microsoft.com/office/drawing/2014/main" id="{CAF8A990-DABD-468E-8415-2A25D91ABB9A}"/>
                </a:ext>
              </a:extLst>
            </p:cNvPr>
            <p:cNvSpPr txBox="1">
              <a:spLocks/>
            </p:cNvSpPr>
            <p:nvPr/>
          </p:nvSpPr>
          <p:spPr>
            <a:xfrm>
              <a:off x="1104488" y="2737022"/>
              <a:ext cx="3722136" cy="1207533"/>
            </a:xfrm>
            <a:prstGeom prst="rect">
              <a:avLst/>
            </a:prstGeom>
            <a:ln w="9525">
              <a:noFill/>
            </a:ln>
          </p:spPr>
          <p:txBody>
            <a:bodyPr vert="horz" lIns="0" tIns="0" rIns="0" bIns="0"/>
            <a:lstStyle>
              <a:lvl1pPr marL="0" indent="0" algn="l" defTabSz="914400" rtl="0" eaLnBrk="1" latinLnBrk="0" hangingPunct="1">
                <a:lnSpc>
                  <a:spcPct val="100000"/>
                </a:lnSpc>
                <a:spcBef>
                  <a:spcPts val="800"/>
                </a:spcBef>
                <a:buFontTx/>
                <a:buNone/>
                <a:defRPr sz="1600" kern="1200" spc="0" baseline="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800"/>
                </a:spcBef>
                <a:spcAft>
                  <a:spcPts val="0"/>
                </a:spcAft>
                <a:buFontTx/>
                <a:buNone/>
                <a:defRPr sz="1400" kern="1200" spc="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800"/>
                </a:spcBef>
                <a:buFont typeface="Symbol" panose="05050102010706020507" pitchFamily="18" charset="2"/>
                <a:buChar char=""/>
                <a:defRPr sz="1400" kern="1200" spc="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5pPr>
              <a:lvl6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9pPr>
            </a:lstStyle>
            <a:p>
              <a:pPr algn="r"/>
              <a:r>
                <a:rPr lang="en-US" sz="1400" b="1" dirty="0">
                  <a:solidFill>
                    <a:srgbClr val="00396F"/>
                  </a:solidFill>
                </a:rPr>
                <a:t>Incentives</a:t>
              </a:r>
            </a:p>
            <a:p>
              <a:pPr lvl="1"/>
              <a:r>
                <a:rPr lang="en-US" dirty="0">
                  <a:solidFill>
                    <a:srgbClr val="00396F"/>
                  </a:solidFill>
                </a:rPr>
                <a:t>Fixed share of future revenues (i.e., 10%) can be reserved for community members that answer questions, vote, provide feedback and ideas and engage in other co-creational activities.</a:t>
              </a:r>
            </a:p>
          </p:txBody>
        </p:sp>
        <p:sp>
          <p:nvSpPr>
            <p:cNvPr id="18" name="Content Placeholder 5">
              <a:extLst>
                <a:ext uri="{FF2B5EF4-FFF2-40B4-BE49-F238E27FC236}">
                  <a16:creationId xmlns:a16="http://schemas.microsoft.com/office/drawing/2014/main" id="{8CB5ABD5-932B-493B-95F6-18FEF2DC4C84}"/>
                </a:ext>
              </a:extLst>
            </p:cNvPr>
            <p:cNvSpPr txBox="1">
              <a:spLocks/>
            </p:cNvSpPr>
            <p:nvPr/>
          </p:nvSpPr>
          <p:spPr>
            <a:xfrm>
              <a:off x="1534760" y="4470863"/>
              <a:ext cx="3356376" cy="1439886"/>
            </a:xfrm>
            <a:prstGeom prst="rect">
              <a:avLst/>
            </a:prstGeom>
            <a:ln w="9525">
              <a:noFill/>
            </a:ln>
          </p:spPr>
          <p:txBody>
            <a:bodyPr vert="horz" lIns="0" tIns="0" rIns="0" bIns="0"/>
            <a:lstStyle>
              <a:lvl1pPr marL="0" indent="0" algn="l" defTabSz="914400" rtl="0" eaLnBrk="1" latinLnBrk="0" hangingPunct="1">
                <a:lnSpc>
                  <a:spcPct val="100000"/>
                </a:lnSpc>
                <a:spcBef>
                  <a:spcPts val="800"/>
                </a:spcBef>
                <a:buFontTx/>
                <a:buNone/>
                <a:defRPr sz="1600" kern="1200" spc="0" baseline="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800"/>
                </a:spcBef>
                <a:spcAft>
                  <a:spcPts val="0"/>
                </a:spcAft>
                <a:buFontTx/>
                <a:buNone/>
                <a:defRPr sz="1400" kern="1200" spc="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800"/>
                </a:spcBef>
                <a:buFont typeface="Symbol" panose="05050102010706020507" pitchFamily="18" charset="2"/>
                <a:buChar char=""/>
                <a:defRPr sz="1400" kern="1200" spc="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400"/>
                </a:spcBef>
                <a:buFont typeface="Arial" panose="020B0604020202020204" pitchFamily="34" charset="0"/>
                <a:buChar char="–"/>
                <a:defRPr sz="1400" kern="1200" spc="0">
                  <a:solidFill>
                    <a:schemeClr val="tx1"/>
                  </a:solidFill>
                  <a:latin typeface="Arial" panose="020B0604020202020204" pitchFamily="34" charset="0"/>
                  <a:ea typeface="+mn-ea"/>
                  <a:cs typeface="Arial" panose="020B0604020202020204" pitchFamily="34" charset="0"/>
                </a:defRPr>
              </a:lvl5pPr>
              <a:lvl6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7pPr>
              <a:lvl8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8pPr>
              <a:lvl9pPr marL="540000" indent="-180000" algn="l" defTabSz="914400" rtl="0" eaLnBrk="1" latinLnBrk="0" hangingPunct="1">
                <a:lnSpc>
                  <a:spcPct val="100000"/>
                </a:lnSpc>
                <a:spcBef>
                  <a:spcPts val="400"/>
                </a:spcBef>
                <a:buFont typeface="Arial" panose="020B0604020202020204" pitchFamily="34" charset="0"/>
                <a:buChar char="–"/>
                <a:defRPr sz="1400" kern="1200">
                  <a:solidFill>
                    <a:schemeClr val="tx1"/>
                  </a:solidFill>
                  <a:latin typeface="+mn-lt"/>
                  <a:ea typeface="+mn-ea"/>
                  <a:cs typeface="+mn-cs"/>
                </a:defRPr>
              </a:lvl9pPr>
            </a:lstStyle>
            <a:p>
              <a:pPr algn="r"/>
              <a:r>
                <a:rPr lang="en-US" sz="1400" b="1" dirty="0">
                  <a:solidFill>
                    <a:srgbClr val="00396F"/>
                  </a:solidFill>
                </a:rPr>
                <a:t>Degree of involvement</a:t>
              </a:r>
            </a:p>
            <a:p>
              <a:pPr lvl="1"/>
              <a:r>
                <a:rPr lang="en-US" dirty="0" err="1">
                  <a:solidFill>
                    <a:srgbClr val="00396F"/>
                  </a:solidFill>
                </a:rPr>
                <a:t>JumpStartFund</a:t>
              </a:r>
              <a:r>
                <a:rPr lang="en-US" dirty="0">
                  <a:solidFill>
                    <a:srgbClr val="00396F"/>
                  </a:solidFill>
                </a:rPr>
                <a:t> allows users to apply for permanent jobs related to the project. In doing so, the contact form provides users with the option to become an actual co-worker in the project that is paid via stock options. </a:t>
              </a:r>
            </a:p>
          </p:txBody>
        </p:sp>
        <p:grpSp>
          <p:nvGrpSpPr>
            <p:cNvPr id="19" name="Group 18">
              <a:extLst>
                <a:ext uri="{FF2B5EF4-FFF2-40B4-BE49-F238E27FC236}">
                  <a16:creationId xmlns:a16="http://schemas.microsoft.com/office/drawing/2014/main" id="{3EFEA7A5-0A85-4398-83BB-7A647F33DCC6}"/>
                </a:ext>
              </a:extLst>
            </p:cNvPr>
            <p:cNvGrpSpPr/>
            <p:nvPr/>
          </p:nvGrpSpPr>
          <p:grpSpPr>
            <a:xfrm>
              <a:off x="6461644" y="1753708"/>
              <a:ext cx="501818" cy="501817"/>
              <a:chOff x="5873804" y="1802758"/>
              <a:chExt cx="501818" cy="501817"/>
            </a:xfrm>
          </p:grpSpPr>
          <p:sp>
            <p:nvSpPr>
              <p:cNvPr id="20" name="Shape 34811">
                <a:extLst>
                  <a:ext uri="{FF2B5EF4-FFF2-40B4-BE49-F238E27FC236}">
                    <a16:creationId xmlns:a16="http://schemas.microsoft.com/office/drawing/2014/main" id="{A7999094-BE8A-4D5A-97A4-2F04368BEF15}"/>
                  </a:ext>
                </a:extLst>
              </p:cNvPr>
              <p:cNvSpPr/>
              <p:nvPr/>
            </p:nvSpPr>
            <p:spPr>
              <a:xfrm>
                <a:off x="5873804" y="1802758"/>
                <a:ext cx="501818" cy="501817"/>
              </a:xfrm>
              <a:prstGeom prst="ellipse">
                <a:avLst/>
              </a:prstGeom>
              <a:solidFill>
                <a:schemeClr val="accent3">
                  <a:lumMod val="90000"/>
                </a:schemeClr>
              </a:solidFill>
              <a:ln w="12700" cap="flat">
                <a:noFill/>
                <a:miter lim="400000"/>
              </a:ln>
              <a:effectLst/>
            </p:spPr>
            <p:txBody>
              <a:bodyPr wrap="square" lIns="0" tIns="0" rIns="0" bIns="0" numCol="1" anchor="t">
                <a:noAutofit/>
              </a:bodyPr>
              <a:lstStyle/>
              <a:p>
                <a:endParaRPr lang="en-US" sz="1400" dirty="0">
                  <a:solidFill>
                    <a:srgbClr val="00396F"/>
                  </a:solidFill>
                </a:endParaRPr>
              </a:p>
            </p:txBody>
          </p:sp>
          <p:pic>
            <p:nvPicPr>
              <p:cNvPr id="21" name="Medal">
                <a:extLst>
                  <a:ext uri="{FF2B5EF4-FFF2-40B4-BE49-F238E27FC236}">
                    <a16:creationId xmlns:a16="http://schemas.microsoft.com/office/drawing/2014/main" id="{56BF2926-E22B-4399-A3B7-9F29DE97249C}"/>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Lst>
              </a:blip>
              <a:stretch>
                <a:fillRect/>
              </a:stretch>
            </p:blipFill>
            <p:spPr>
              <a:xfrm>
                <a:off x="5906166" y="1835119"/>
                <a:ext cx="437095" cy="437095"/>
              </a:xfrm>
              <a:prstGeom prst="rect">
                <a:avLst/>
              </a:prstGeom>
            </p:spPr>
          </p:pic>
        </p:grpSp>
        <p:grpSp>
          <p:nvGrpSpPr>
            <p:cNvPr id="22" name="Group 21">
              <a:extLst>
                <a:ext uri="{FF2B5EF4-FFF2-40B4-BE49-F238E27FC236}">
                  <a16:creationId xmlns:a16="http://schemas.microsoft.com/office/drawing/2014/main" id="{28973B46-E680-4905-B08D-E479F4F065F7}"/>
                </a:ext>
              </a:extLst>
            </p:cNvPr>
            <p:cNvGrpSpPr/>
            <p:nvPr/>
          </p:nvGrpSpPr>
          <p:grpSpPr>
            <a:xfrm>
              <a:off x="8007468" y="4431199"/>
              <a:ext cx="501943" cy="501944"/>
              <a:chOff x="7419628" y="4480249"/>
              <a:chExt cx="501943" cy="501944"/>
            </a:xfrm>
          </p:grpSpPr>
          <p:sp>
            <p:nvSpPr>
              <p:cNvPr id="23" name="Shape 34814">
                <a:extLst>
                  <a:ext uri="{FF2B5EF4-FFF2-40B4-BE49-F238E27FC236}">
                    <a16:creationId xmlns:a16="http://schemas.microsoft.com/office/drawing/2014/main" id="{4A6A87C7-06FD-4E37-948F-611FE6220A13}"/>
                  </a:ext>
                </a:extLst>
              </p:cNvPr>
              <p:cNvSpPr/>
              <p:nvPr/>
            </p:nvSpPr>
            <p:spPr>
              <a:xfrm>
                <a:off x="7419628" y="4480249"/>
                <a:ext cx="501943" cy="501944"/>
              </a:xfrm>
              <a:custGeom>
                <a:avLst/>
                <a:gdLst/>
                <a:ahLst/>
                <a:cxnLst>
                  <a:cxn ang="0">
                    <a:pos x="wd2" y="hd2"/>
                  </a:cxn>
                  <a:cxn ang="5400000">
                    <a:pos x="wd2" y="hd2"/>
                  </a:cxn>
                  <a:cxn ang="10800000">
                    <a:pos x="wd2" y="hd2"/>
                  </a:cxn>
                  <a:cxn ang="16200000">
                    <a:pos x="wd2" y="hd2"/>
                  </a:cxn>
                </a:cxnLst>
                <a:rect l="0" t="0" r="r" b="b"/>
                <a:pathLst>
                  <a:path w="19484" h="19484" extrusionOk="0">
                    <a:moveTo>
                      <a:pt x="7221" y="334"/>
                    </a:moveTo>
                    <a:cubicBezTo>
                      <a:pt x="12417" y="-1058"/>
                      <a:pt x="17758" y="2025"/>
                      <a:pt x="19150" y="7221"/>
                    </a:cubicBezTo>
                    <a:cubicBezTo>
                      <a:pt x="20542" y="12417"/>
                      <a:pt x="17459" y="17758"/>
                      <a:pt x="12263" y="19150"/>
                    </a:cubicBezTo>
                    <a:cubicBezTo>
                      <a:pt x="7067" y="20542"/>
                      <a:pt x="1726" y="17459"/>
                      <a:pt x="334" y="12263"/>
                    </a:cubicBezTo>
                    <a:cubicBezTo>
                      <a:pt x="-1058" y="7067"/>
                      <a:pt x="2025" y="1726"/>
                      <a:pt x="7221" y="334"/>
                    </a:cubicBezTo>
                    <a:close/>
                  </a:path>
                </a:pathLst>
              </a:custGeom>
              <a:solidFill>
                <a:schemeClr val="accent1"/>
              </a:solidFill>
              <a:ln w="12700" cap="flat">
                <a:noFill/>
                <a:miter lim="400000"/>
              </a:ln>
              <a:effectLst/>
            </p:spPr>
            <p:txBody>
              <a:bodyPr wrap="square" lIns="0" tIns="0" rIns="0" bIns="0" numCol="1" anchor="t">
                <a:noAutofit/>
              </a:bodyPr>
              <a:lstStyle/>
              <a:p>
                <a:endParaRPr lang="en-US" sz="1400" dirty="0">
                  <a:solidFill>
                    <a:srgbClr val="00396F"/>
                  </a:solidFill>
                </a:endParaRPr>
              </a:p>
            </p:txBody>
          </p:sp>
          <p:pic>
            <p:nvPicPr>
              <p:cNvPr id="24" name="Attention">
                <a:extLst>
                  <a:ext uri="{FF2B5EF4-FFF2-40B4-BE49-F238E27FC236}">
                    <a16:creationId xmlns:a16="http://schemas.microsoft.com/office/drawing/2014/main" id="{6DFFBC95-B5FE-4E0B-8EC4-0F6BC7621697}"/>
                  </a:ext>
                </a:extLst>
              </p:cNvPr>
              <p:cNvPicPr>
                <a:picLocks noChangeAspect="1"/>
              </p:cNvPicPr>
              <p:nvPr>
                <p:custDataLst>
                  <p:tags r:id="rId5"/>
                </p:custDataLst>
              </p:nvPr>
            </p:nvPicPr>
            <p:blipFill>
              <a:blip r:embed="rId13">
                <a:extLst>
                  <a:ext uri="{28A0092B-C50C-407E-A947-70E740481C1C}">
                    <a14:useLocalDpi xmlns:a14="http://schemas.microsoft.com/office/drawing/2010/main" val="0"/>
                  </a:ext>
                </a:extLst>
              </a:blip>
              <a:stretch>
                <a:fillRect/>
              </a:stretch>
            </p:blipFill>
            <p:spPr>
              <a:xfrm>
                <a:off x="7466830" y="4527452"/>
                <a:ext cx="407539" cy="407539"/>
              </a:xfrm>
              <a:prstGeom prst="rect">
                <a:avLst/>
              </a:prstGeom>
            </p:spPr>
          </p:pic>
        </p:grpSp>
        <p:grpSp>
          <p:nvGrpSpPr>
            <p:cNvPr id="25" name="Group 24">
              <a:extLst>
                <a:ext uri="{FF2B5EF4-FFF2-40B4-BE49-F238E27FC236}">
                  <a16:creationId xmlns:a16="http://schemas.microsoft.com/office/drawing/2014/main" id="{77E500B5-3AAA-4D35-A97B-54754C9ED8C2}"/>
                </a:ext>
              </a:extLst>
            </p:cNvPr>
            <p:cNvGrpSpPr/>
            <p:nvPr/>
          </p:nvGrpSpPr>
          <p:grpSpPr>
            <a:xfrm>
              <a:off x="4924852" y="4332123"/>
              <a:ext cx="501943" cy="501944"/>
              <a:chOff x="4327854" y="4480249"/>
              <a:chExt cx="501943" cy="501944"/>
            </a:xfrm>
          </p:grpSpPr>
          <p:sp>
            <p:nvSpPr>
              <p:cNvPr id="27" name="Shape 34805">
                <a:extLst>
                  <a:ext uri="{FF2B5EF4-FFF2-40B4-BE49-F238E27FC236}">
                    <a16:creationId xmlns:a16="http://schemas.microsoft.com/office/drawing/2014/main" id="{E9AB5B7B-03A1-4141-9E6C-9C7E2D3A535C}"/>
                  </a:ext>
                </a:extLst>
              </p:cNvPr>
              <p:cNvSpPr/>
              <p:nvPr/>
            </p:nvSpPr>
            <p:spPr>
              <a:xfrm>
                <a:off x="4327854" y="4480249"/>
                <a:ext cx="501943" cy="501944"/>
              </a:xfrm>
              <a:custGeom>
                <a:avLst/>
                <a:gdLst/>
                <a:ahLst/>
                <a:cxnLst>
                  <a:cxn ang="0">
                    <a:pos x="wd2" y="hd2"/>
                  </a:cxn>
                  <a:cxn ang="5400000">
                    <a:pos x="wd2" y="hd2"/>
                  </a:cxn>
                  <a:cxn ang="10800000">
                    <a:pos x="wd2" y="hd2"/>
                  </a:cxn>
                  <a:cxn ang="16200000">
                    <a:pos x="wd2" y="hd2"/>
                  </a:cxn>
                </a:cxnLst>
                <a:rect l="0" t="0" r="r" b="b"/>
                <a:pathLst>
                  <a:path w="19484" h="19484" extrusionOk="0">
                    <a:moveTo>
                      <a:pt x="19150" y="12263"/>
                    </a:moveTo>
                    <a:cubicBezTo>
                      <a:pt x="17758" y="17459"/>
                      <a:pt x="12417" y="20542"/>
                      <a:pt x="7221" y="19150"/>
                    </a:cubicBezTo>
                    <a:cubicBezTo>
                      <a:pt x="2025" y="17758"/>
                      <a:pt x="-1058" y="12417"/>
                      <a:pt x="334" y="7221"/>
                    </a:cubicBezTo>
                    <a:cubicBezTo>
                      <a:pt x="1726" y="2025"/>
                      <a:pt x="7067" y="-1058"/>
                      <a:pt x="12263" y="334"/>
                    </a:cubicBezTo>
                    <a:cubicBezTo>
                      <a:pt x="17459" y="1726"/>
                      <a:pt x="20542" y="7067"/>
                      <a:pt x="19150" y="12263"/>
                    </a:cubicBezTo>
                    <a:close/>
                  </a:path>
                </a:pathLst>
              </a:custGeom>
              <a:solidFill>
                <a:schemeClr val="tx2">
                  <a:lumMod val="60000"/>
                  <a:lumOff val="40000"/>
                </a:schemeClr>
              </a:solidFill>
              <a:ln w="12700" cap="flat">
                <a:noFill/>
                <a:miter lim="400000"/>
              </a:ln>
              <a:effectLst/>
            </p:spPr>
            <p:txBody>
              <a:bodyPr wrap="square" lIns="0" tIns="0" rIns="0" bIns="0" numCol="1" anchor="t">
                <a:noAutofit/>
              </a:bodyPr>
              <a:lstStyle/>
              <a:p>
                <a:pPr algn="ctr"/>
                <a:endParaRPr lang="en-US" sz="1400" dirty="0">
                  <a:solidFill>
                    <a:srgbClr val="00396F"/>
                  </a:solidFill>
                </a:endParaRPr>
              </a:p>
            </p:txBody>
          </p:sp>
          <p:pic>
            <p:nvPicPr>
              <p:cNvPr id="28" name="Decrease">
                <a:extLst>
                  <a:ext uri="{FF2B5EF4-FFF2-40B4-BE49-F238E27FC236}">
                    <a16:creationId xmlns:a16="http://schemas.microsoft.com/office/drawing/2014/main" id="{19CBECD9-37FD-429E-A493-C1D3A0723C1F}"/>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Lst>
              </a:blip>
              <a:stretch>
                <a:fillRect/>
              </a:stretch>
            </p:blipFill>
            <p:spPr>
              <a:xfrm>
                <a:off x="4406676" y="4559072"/>
                <a:ext cx="344299" cy="344299"/>
              </a:xfrm>
              <a:prstGeom prst="rect">
                <a:avLst/>
              </a:prstGeom>
            </p:spPr>
          </p:pic>
        </p:grpSp>
        <p:grpSp>
          <p:nvGrpSpPr>
            <p:cNvPr id="29" name="Group 28">
              <a:extLst>
                <a:ext uri="{FF2B5EF4-FFF2-40B4-BE49-F238E27FC236}">
                  <a16:creationId xmlns:a16="http://schemas.microsoft.com/office/drawing/2014/main" id="{0691B22E-BA3F-4211-8648-4A78E2D8E5B6}"/>
                </a:ext>
              </a:extLst>
            </p:cNvPr>
            <p:cNvGrpSpPr/>
            <p:nvPr/>
          </p:nvGrpSpPr>
          <p:grpSpPr>
            <a:xfrm>
              <a:off x="4915693" y="2646955"/>
              <a:ext cx="501944" cy="501944"/>
              <a:chOff x="4327853" y="2696005"/>
              <a:chExt cx="501944" cy="501944"/>
            </a:xfrm>
          </p:grpSpPr>
          <p:sp>
            <p:nvSpPr>
              <p:cNvPr id="30" name="Shape 34817">
                <a:extLst>
                  <a:ext uri="{FF2B5EF4-FFF2-40B4-BE49-F238E27FC236}">
                    <a16:creationId xmlns:a16="http://schemas.microsoft.com/office/drawing/2014/main" id="{F25CF98A-9DDE-4417-AE0A-A6EA49332650}"/>
                  </a:ext>
                </a:extLst>
              </p:cNvPr>
              <p:cNvSpPr/>
              <p:nvPr/>
            </p:nvSpPr>
            <p:spPr>
              <a:xfrm>
                <a:off x="4327853" y="2696005"/>
                <a:ext cx="501944" cy="501944"/>
              </a:xfrm>
              <a:custGeom>
                <a:avLst/>
                <a:gdLst/>
                <a:ahLst/>
                <a:cxnLst>
                  <a:cxn ang="0">
                    <a:pos x="wd2" y="hd2"/>
                  </a:cxn>
                  <a:cxn ang="5400000">
                    <a:pos x="wd2" y="hd2"/>
                  </a:cxn>
                  <a:cxn ang="10800000">
                    <a:pos x="wd2" y="hd2"/>
                  </a:cxn>
                  <a:cxn ang="16200000">
                    <a:pos x="wd2" y="hd2"/>
                  </a:cxn>
                </a:cxnLst>
                <a:rect l="0" t="0" r="r" b="b"/>
                <a:pathLst>
                  <a:path w="19484" h="19484" extrusionOk="0">
                    <a:moveTo>
                      <a:pt x="7221" y="334"/>
                    </a:moveTo>
                    <a:cubicBezTo>
                      <a:pt x="12417" y="-1058"/>
                      <a:pt x="17758" y="2025"/>
                      <a:pt x="19150" y="7221"/>
                    </a:cubicBezTo>
                    <a:cubicBezTo>
                      <a:pt x="20542" y="12417"/>
                      <a:pt x="17459" y="17758"/>
                      <a:pt x="12263" y="19150"/>
                    </a:cubicBezTo>
                    <a:cubicBezTo>
                      <a:pt x="7067" y="20542"/>
                      <a:pt x="1726" y="17459"/>
                      <a:pt x="334" y="12263"/>
                    </a:cubicBezTo>
                    <a:cubicBezTo>
                      <a:pt x="-1058" y="7067"/>
                      <a:pt x="2025" y="1726"/>
                      <a:pt x="7221" y="334"/>
                    </a:cubicBezTo>
                    <a:close/>
                  </a:path>
                </a:pathLst>
              </a:custGeom>
              <a:solidFill>
                <a:schemeClr val="tx2"/>
              </a:solidFill>
              <a:ln w="12700" cap="flat">
                <a:noFill/>
                <a:miter lim="400000"/>
              </a:ln>
              <a:effectLst/>
            </p:spPr>
            <p:txBody>
              <a:bodyPr wrap="square" lIns="0" tIns="0" rIns="0" bIns="0" numCol="1" anchor="t">
                <a:noAutofit/>
              </a:bodyPr>
              <a:lstStyle/>
              <a:p>
                <a:pPr algn="ctr"/>
                <a:endParaRPr lang="en-US" sz="1400" dirty="0">
                  <a:solidFill>
                    <a:srgbClr val="00396F"/>
                  </a:solidFill>
                </a:endParaRPr>
              </a:p>
            </p:txBody>
          </p:sp>
          <p:pic>
            <p:nvPicPr>
              <p:cNvPr id="31" name="Handshake/Agreement">
                <a:extLst>
                  <a:ext uri="{FF2B5EF4-FFF2-40B4-BE49-F238E27FC236}">
                    <a16:creationId xmlns:a16="http://schemas.microsoft.com/office/drawing/2014/main" id="{FEDD389F-7753-4EC6-9CB6-5C1DBF0D1F2F}"/>
                  </a:ext>
                </a:extLst>
              </p:cNvPr>
              <p:cNvPicPr>
                <a:picLocks noChangeAspect="1"/>
              </p:cNvPicPr>
              <p:nvPr>
                <p:custDataLst>
                  <p:tags r:id="rId3"/>
                </p:custDataLst>
              </p:nvPr>
            </p:nvPicPr>
            <p:blipFill>
              <a:blip r:embed="rId15">
                <a:extLst>
                  <a:ext uri="{28A0092B-C50C-407E-A947-70E740481C1C}">
                    <a14:useLocalDpi xmlns:a14="http://schemas.microsoft.com/office/drawing/2010/main" val="0"/>
                  </a:ext>
                </a:extLst>
              </a:blip>
              <a:stretch>
                <a:fillRect/>
              </a:stretch>
            </p:blipFill>
            <p:spPr>
              <a:xfrm>
                <a:off x="4365164" y="2733316"/>
                <a:ext cx="427323" cy="427323"/>
              </a:xfrm>
              <a:prstGeom prst="rect">
                <a:avLst/>
              </a:prstGeom>
            </p:spPr>
          </p:pic>
        </p:grpSp>
        <p:grpSp>
          <p:nvGrpSpPr>
            <p:cNvPr id="32" name="Group 31">
              <a:extLst>
                <a:ext uri="{FF2B5EF4-FFF2-40B4-BE49-F238E27FC236}">
                  <a16:creationId xmlns:a16="http://schemas.microsoft.com/office/drawing/2014/main" id="{2F771F47-74BC-44F5-9631-27EBA8CB6303}"/>
                </a:ext>
              </a:extLst>
            </p:cNvPr>
            <p:cNvGrpSpPr/>
            <p:nvPr/>
          </p:nvGrpSpPr>
          <p:grpSpPr>
            <a:xfrm>
              <a:off x="8007469" y="2646163"/>
              <a:ext cx="501943" cy="501944"/>
              <a:chOff x="7419629" y="2695213"/>
              <a:chExt cx="501943" cy="501944"/>
            </a:xfrm>
          </p:grpSpPr>
          <p:sp>
            <p:nvSpPr>
              <p:cNvPr id="33" name="Shape 34820">
                <a:extLst>
                  <a:ext uri="{FF2B5EF4-FFF2-40B4-BE49-F238E27FC236}">
                    <a16:creationId xmlns:a16="http://schemas.microsoft.com/office/drawing/2014/main" id="{1C15A5C8-A0FB-4EB3-9EC3-58EA6C9F44F2}"/>
                  </a:ext>
                </a:extLst>
              </p:cNvPr>
              <p:cNvSpPr/>
              <p:nvPr/>
            </p:nvSpPr>
            <p:spPr>
              <a:xfrm>
                <a:off x="7419629" y="2695213"/>
                <a:ext cx="501943" cy="501944"/>
              </a:xfrm>
              <a:custGeom>
                <a:avLst/>
                <a:gdLst/>
                <a:ahLst/>
                <a:cxnLst>
                  <a:cxn ang="0">
                    <a:pos x="wd2" y="hd2"/>
                  </a:cxn>
                  <a:cxn ang="5400000">
                    <a:pos x="wd2" y="hd2"/>
                  </a:cxn>
                  <a:cxn ang="10800000">
                    <a:pos x="wd2" y="hd2"/>
                  </a:cxn>
                  <a:cxn ang="16200000">
                    <a:pos x="wd2" y="hd2"/>
                  </a:cxn>
                </a:cxnLst>
                <a:rect l="0" t="0" r="r" b="b"/>
                <a:pathLst>
                  <a:path w="19484" h="19484" extrusionOk="0">
                    <a:moveTo>
                      <a:pt x="19150" y="12263"/>
                    </a:moveTo>
                    <a:cubicBezTo>
                      <a:pt x="17758" y="17459"/>
                      <a:pt x="12417" y="20542"/>
                      <a:pt x="7221" y="19150"/>
                    </a:cubicBezTo>
                    <a:cubicBezTo>
                      <a:pt x="2025" y="17758"/>
                      <a:pt x="-1058" y="12417"/>
                      <a:pt x="334" y="7221"/>
                    </a:cubicBezTo>
                    <a:cubicBezTo>
                      <a:pt x="1726" y="2025"/>
                      <a:pt x="7067" y="-1058"/>
                      <a:pt x="12263" y="334"/>
                    </a:cubicBezTo>
                    <a:cubicBezTo>
                      <a:pt x="17459" y="1726"/>
                      <a:pt x="20542" y="7067"/>
                      <a:pt x="19150" y="12263"/>
                    </a:cubicBezTo>
                    <a:close/>
                  </a:path>
                </a:pathLst>
              </a:custGeom>
              <a:solidFill>
                <a:schemeClr val="accent2"/>
              </a:solidFill>
              <a:ln w="12700" cap="flat">
                <a:noFill/>
                <a:miter lim="400000"/>
              </a:ln>
              <a:effectLst/>
            </p:spPr>
            <p:txBody>
              <a:bodyPr wrap="square" lIns="0" tIns="0" rIns="0" bIns="0" numCol="1" anchor="t">
                <a:noAutofit/>
              </a:bodyPr>
              <a:lstStyle/>
              <a:p>
                <a:endParaRPr lang="en-US" sz="1400" dirty="0">
                  <a:solidFill>
                    <a:srgbClr val="00396F"/>
                  </a:solidFill>
                </a:endParaRPr>
              </a:p>
            </p:txBody>
          </p:sp>
          <p:pic>
            <p:nvPicPr>
              <p:cNvPr id="34" name="Arrows">
                <a:extLst>
                  <a:ext uri="{FF2B5EF4-FFF2-40B4-BE49-F238E27FC236}">
                    <a16:creationId xmlns:a16="http://schemas.microsoft.com/office/drawing/2014/main" id="{9C25F643-C607-46B1-BB58-0F278F198086}"/>
                  </a:ext>
                </a:extLst>
              </p:cNvPr>
              <p:cNvPicPr>
                <a:picLocks noChangeAspect="1"/>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7476684" y="2752269"/>
                <a:ext cx="387833" cy="387833"/>
              </a:xfrm>
              <a:prstGeom prst="rect">
                <a:avLst/>
              </a:prstGeom>
            </p:spPr>
          </p:pic>
        </p:grpSp>
        <p:pic>
          <p:nvPicPr>
            <p:cNvPr id="35" name="Picture 2" descr="JumpStartFund Launches First Ever Crowd-Powered Portal for Startups |  Business Wire">
              <a:extLst>
                <a:ext uri="{FF2B5EF4-FFF2-40B4-BE49-F238E27FC236}">
                  <a16:creationId xmlns:a16="http://schemas.microsoft.com/office/drawing/2014/main" id="{66110D3B-FE97-9AF3-9F04-7FCE88910BB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12054" y="5303393"/>
              <a:ext cx="2400998" cy="5761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293368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3C9041-C1CD-4509-8526-7B962C1C20C3}"/>
              </a:ext>
            </a:extLst>
          </p:cNvPr>
          <p:cNvGraphicFramePr>
            <a:graphicFrameLocks noChangeAspect="1"/>
          </p:cNvGraphicFramePr>
          <p:nvPr>
            <p:custDataLst>
              <p:tags r:id="rId1"/>
            </p:custDataLst>
            <p:extLst>
              <p:ext uri="{D42A27DB-BD31-4B8C-83A1-F6EECF244321}">
                <p14:modId xmlns:p14="http://schemas.microsoft.com/office/powerpoint/2010/main" val="202195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23C9041-C1CD-4509-8526-7B962C1C2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err="1">
                <a:solidFill>
                  <a:srgbClr val="00396F"/>
                </a:solidFill>
                <a:latin typeface="+mn-lt"/>
                <a:cs typeface="Calibri"/>
              </a:rPr>
              <a:t>Conclusions</a:t>
            </a:r>
            <a:endParaRPr sz="4000" dirty="0">
              <a:solidFill>
                <a:srgbClr val="BEBDBD"/>
              </a:solidFill>
            </a:endParaRPr>
          </a:p>
        </p:txBody>
      </p:sp>
      <p:sp>
        <p:nvSpPr>
          <p:cNvPr id="3" name="Slide Number Placeholder 6">
            <a:extLst>
              <a:ext uri="{FF2B5EF4-FFF2-40B4-BE49-F238E27FC236}">
                <a16:creationId xmlns:a16="http://schemas.microsoft.com/office/drawing/2014/main" id="{64BA54B7-C259-7BDA-8C13-9ED863A2276B}"/>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23</a:t>
            </a:fld>
            <a:endParaRPr lang="en-GB" dirty="0">
              <a:solidFill>
                <a:srgbClr val="00396F"/>
              </a:solidFill>
              <a:latin typeface="Abadi" panose="020B0604020104020204" pitchFamily="34" charset="0"/>
            </a:endParaRPr>
          </a:p>
        </p:txBody>
      </p:sp>
      <p:sp>
        <p:nvSpPr>
          <p:cNvPr id="8" name="Rectangle: Rounded Corners 7">
            <a:extLst>
              <a:ext uri="{FF2B5EF4-FFF2-40B4-BE49-F238E27FC236}">
                <a16:creationId xmlns:a16="http://schemas.microsoft.com/office/drawing/2014/main" id="{235FBA34-19F5-49F0-AD07-2B407CF460EB}"/>
              </a:ext>
            </a:extLst>
          </p:cNvPr>
          <p:cNvSpPr/>
          <p:nvPr/>
        </p:nvSpPr>
        <p:spPr>
          <a:xfrm>
            <a:off x="524088" y="1417983"/>
            <a:ext cx="10952295" cy="4695830"/>
          </a:xfrm>
          <a:prstGeom prst="roundRect">
            <a:avLst/>
          </a:prstGeom>
          <a:solidFill>
            <a:schemeClr val="bg1"/>
          </a:solidFill>
          <a:ln>
            <a:solidFill>
              <a:srgbClr val="0039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Gill Sans MT" panose="020B0502020104020203" pitchFamily="34" charset="0"/>
            </a:endParaRPr>
          </a:p>
        </p:txBody>
      </p:sp>
      <p:sp>
        <p:nvSpPr>
          <p:cNvPr id="9" name="Rectangle 3">
            <a:extLst>
              <a:ext uri="{FF2B5EF4-FFF2-40B4-BE49-F238E27FC236}">
                <a16:creationId xmlns:a16="http://schemas.microsoft.com/office/drawing/2014/main" id="{38520085-1AA3-4EB3-9D4F-C26E20B7C00F}"/>
              </a:ext>
            </a:extLst>
          </p:cNvPr>
          <p:cNvSpPr>
            <a:spLocks noChangeArrowheads="1"/>
          </p:cNvSpPr>
          <p:nvPr/>
        </p:nvSpPr>
        <p:spPr bwMode="auto">
          <a:xfrm>
            <a:off x="660972" y="3273220"/>
            <a:ext cx="3104789" cy="1800000"/>
          </a:xfrm>
          <a:prstGeom prst="rect">
            <a:avLst/>
          </a:prstGeom>
          <a:noFill/>
          <a:ln w="12700" algn="ctr">
            <a:noFill/>
            <a:miter lim="800000"/>
            <a:headEnd/>
            <a:tailEnd/>
          </a:ln>
          <a:effectLst/>
        </p:spPr>
        <p:txBody>
          <a:bodyPr wrap="square" lIns="0" tIns="0" rIns="0" bIns="0" anchor="t">
            <a:noAutofit/>
          </a:bodyPr>
          <a:lstStyle/>
          <a:p>
            <a:pPr algn="ctr">
              <a:spcAft>
                <a:spcPts val="400"/>
              </a:spcAft>
              <a:buClr>
                <a:schemeClr val="accent1"/>
              </a:buClr>
              <a:buSzPct val="80000"/>
            </a:pPr>
            <a:r>
              <a:rPr lang="en-US" dirty="0">
                <a:solidFill>
                  <a:srgbClr val="003970"/>
                </a:solidFill>
              </a:rPr>
              <a:t>Open innovation is not only a "substitute" for closed innovation but should be seen as complementary.</a:t>
            </a:r>
            <a:endParaRPr lang="it-IT" b="1" i="1" dirty="0">
              <a:solidFill>
                <a:srgbClr val="003970"/>
              </a:solidFill>
            </a:endParaRPr>
          </a:p>
          <a:p>
            <a:pPr algn="ctr">
              <a:spcAft>
                <a:spcPts val="400"/>
              </a:spcAft>
              <a:buClr>
                <a:schemeClr val="accent1"/>
              </a:buClr>
              <a:buSzPct val="80000"/>
            </a:pPr>
            <a:endParaRPr lang="it-IT" sz="1600" dirty="0">
              <a:solidFill>
                <a:srgbClr val="003970"/>
              </a:solidFill>
            </a:endParaRPr>
          </a:p>
        </p:txBody>
      </p:sp>
      <p:sp>
        <p:nvSpPr>
          <p:cNvPr id="10" name="Rectangle 3">
            <a:extLst>
              <a:ext uri="{FF2B5EF4-FFF2-40B4-BE49-F238E27FC236}">
                <a16:creationId xmlns:a16="http://schemas.microsoft.com/office/drawing/2014/main" id="{C84D8CFA-249F-4DC8-9D7D-EE1ECF573BDA}"/>
              </a:ext>
            </a:extLst>
          </p:cNvPr>
          <p:cNvSpPr>
            <a:spLocks noChangeArrowheads="1"/>
          </p:cNvSpPr>
          <p:nvPr/>
        </p:nvSpPr>
        <p:spPr bwMode="auto">
          <a:xfrm>
            <a:off x="4543605" y="3273219"/>
            <a:ext cx="3104789" cy="2240627"/>
          </a:xfrm>
          <a:prstGeom prst="rect">
            <a:avLst/>
          </a:prstGeom>
          <a:noFill/>
          <a:ln w="12700" algn="ctr">
            <a:noFill/>
            <a:miter lim="800000"/>
            <a:headEnd/>
            <a:tailEnd/>
          </a:ln>
          <a:effectLst/>
        </p:spPr>
        <p:txBody>
          <a:bodyPr wrap="square" lIns="0" tIns="0" rIns="0" bIns="0" anchor="t">
            <a:noAutofit/>
          </a:bodyPr>
          <a:lstStyle/>
          <a:p>
            <a:pPr algn="ctr">
              <a:spcAft>
                <a:spcPts val="400"/>
              </a:spcAft>
              <a:buClr>
                <a:schemeClr val="accent1"/>
              </a:buClr>
              <a:buSzPct val="80000"/>
            </a:pPr>
            <a:r>
              <a:rPr lang="en-US" dirty="0">
                <a:solidFill>
                  <a:srgbClr val="003970"/>
                </a:solidFill>
              </a:rPr>
              <a:t>Crowdsourcing is a useful tool to accelerate the transfer of knowledge from the outside through the widespread participation of ideas, talents, and creativity.</a:t>
            </a:r>
          </a:p>
        </p:txBody>
      </p:sp>
      <p:sp>
        <p:nvSpPr>
          <p:cNvPr id="11" name="Rectangle 3">
            <a:extLst>
              <a:ext uri="{FF2B5EF4-FFF2-40B4-BE49-F238E27FC236}">
                <a16:creationId xmlns:a16="http://schemas.microsoft.com/office/drawing/2014/main" id="{9E8F1690-021D-4E87-BE3D-CF060C5211DE}"/>
              </a:ext>
            </a:extLst>
          </p:cNvPr>
          <p:cNvSpPr>
            <a:spLocks noChangeArrowheads="1"/>
          </p:cNvSpPr>
          <p:nvPr/>
        </p:nvSpPr>
        <p:spPr bwMode="auto">
          <a:xfrm>
            <a:off x="8426238" y="3273220"/>
            <a:ext cx="2856018" cy="2240628"/>
          </a:xfrm>
          <a:prstGeom prst="rect">
            <a:avLst/>
          </a:prstGeom>
          <a:noFill/>
          <a:ln w="12700" algn="ctr">
            <a:noFill/>
            <a:miter lim="800000"/>
            <a:headEnd/>
            <a:tailEnd/>
          </a:ln>
          <a:effectLst/>
        </p:spPr>
        <p:txBody>
          <a:bodyPr wrap="square" lIns="0" tIns="0" rIns="0" bIns="0" anchor="t">
            <a:noAutofit/>
          </a:bodyPr>
          <a:lstStyle/>
          <a:p>
            <a:pPr algn="ctr">
              <a:spcAft>
                <a:spcPts val="400"/>
              </a:spcAft>
              <a:buClr>
                <a:schemeClr val="accent1"/>
              </a:buClr>
              <a:buSzPct val="80000"/>
            </a:pPr>
            <a:r>
              <a:rPr lang="en-US" dirty="0">
                <a:solidFill>
                  <a:srgbClr val="003970"/>
                </a:solidFill>
              </a:rPr>
              <a:t>The Hyperloop project demonstrates how the crowd drives revolutionary innovation and how its model guides entrepreneurs in finding solutions.</a:t>
            </a:r>
          </a:p>
        </p:txBody>
      </p:sp>
      <p:pic>
        <p:nvPicPr>
          <p:cNvPr id="16" name="Graphic 15" descr="Internet with solid fill">
            <a:extLst>
              <a:ext uri="{FF2B5EF4-FFF2-40B4-BE49-F238E27FC236}">
                <a16:creationId xmlns:a16="http://schemas.microsoft.com/office/drawing/2014/main" id="{66129F9C-CB61-2846-8811-26035A6B69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56166" y="2166663"/>
            <a:ext cx="1080000" cy="1080000"/>
          </a:xfrm>
          <a:prstGeom prst="rect">
            <a:avLst/>
          </a:prstGeom>
        </p:spPr>
      </p:pic>
      <p:pic>
        <p:nvPicPr>
          <p:cNvPr id="18" name="Graphic 17" descr="Group of men with solid fill">
            <a:extLst>
              <a:ext uri="{FF2B5EF4-FFF2-40B4-BE49-F238E27FC236}">
                <a16:creationId xmlns:a16="http://schemas.microsoft.com/office/drawing/2014/main" id="{895DF216-2D8B-126D-DE91-B0F3BA2667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8799" y="2248755"/>
            <a:ext cx="914400" cy="914400"/>
          </a:xfrm>
          <a:prstGeom prst="rect">
            <a:avLst/>
          </a:prstGeom>
        </p:spPr>
      </p:pic>
      <p:pic>
        <p:nvPicPr>
          <p:cNvPr id="20" name="Graphic 19" descr="Train with solid fill">
            <a:extLst>
              <a:ext uri="{FF2B5EF4-FFF2-40B4-BE49-F238E27FC236}">
                <a16:creationId xmlns:a16="http://schemas.microsoft.com/office/drawing/2014/main" id="{82A016D5-97DC-5660-04CF-B77DA408FA1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97047" y="2284240"/>
            <a:ext cx="914400" cy="914400"/>
          </a:xfrm>
          <a:prstGeom prst="rect">
            <a:avLst/>
          </a:prstGeom>
        </p:spPr>
      </p:pic>
    </p:spTree>
    <p:extLst>
      <p:ext uri="{BB962C8B-B14F-4D97-AF65-F5344CB8AC3E}">
        <p14:creationId xmlns:p14="http://schemas.microsoft.com/office/powerpoint/2010/main" val="3553599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6444FF65-601A-2393-7029-62F6419D1303}"/>
              </a:ext>
            </a:extLst>
          </p:cNvPr>
          <p:cNvSpPr/>
          <p:nvPr/>
        </p:nvSpPr>
        <p:spPr>
          <a:xfrm>
            <a:off x="524088" y="1417983"/>
            <a:ext cx="10952295" cy="4695830"/>
          </a:xfrm>
          <a:prstGeom prst="roundRect">
            <a:avLst/>
          </a:prstGeom>
          <a:solidFill>
            <a:schemeClr val="bg1"/>
          </a:solidFill>
          <a:ln>
            <a:solidFill>
              <a:srgbClr val="0039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q"/>
            </a:pPr>
            <a:r>
              <a:rPr lang="en-US" sz="1800" b="1" dirty="0">
                <a:solidFill>
                  <a:srgbClr val="00396F"/>
                </a:solidFill>
              </a:rPr>
              <a:t>The number of cases is currently too small </a:t>
            </a:r>
            <a:r>
              <a:rPr lang="en-US" sz="1800" dirty="0">
                <a:solidFill>
                  <a:srgbClr val="00396F"/>
                </a:solidFill>
              </a:rPr>
              <a:t>to fully support the theory that this new way of creating companies could be particularly suitable for helping start-ups in developing large-scale projects.</a:t>
            </a:r>
          </a:p>
          <a:p>
            <a:pPr algn="just"/>
            <a:endParaRPr lang="en-US" sz="1800" dirty="0">
              <a:solidFill>
                <a:srgbClr val="00396F"/>
              </a:solidFill>
            </a:endParaRPr>
          </a:p>
          <a:p>
            <a:pPr marL="285750" indent="-285750" algn="just">
              <a:buFont typeface="Wingdings" panose="05000000000000000000" pitchFamily="2" charset="2"/>
              <a:buChar char="q"/>
            </a:pPr>
            <a:r>
              <a:rPr lang="en-US" sz="1800" dirty="0">
                <a:solidFill>
                  <a:srgbClr val="00396F"/>
                </a:solidFill>
              </a:rPr>
              <a:t>Thus, the use of this model supposedly requires </a:t>
            </a:r>
            <a:r>
              <a:rPr lang="en-US" sz="1800" b="1" dirty="0">
                <a:solidFill>
                  <a:srgbClr val="00396F"/>
                </a:solidFill>
              </a:rPr>
              <a:t>significant changes </a:t>
            </a:r>
            <a:r>
              <a:rPr lang="en-US" sz="1800" dirty="0">
                <a:solidFill>
                  <a:srgbClr val="00396F"/>
                </a:solidFill>
              </a:rPr>
              <a:t>in a start-up’s </a:t>
            </a:r>
            <a:r>
              <a:rPr lang="en-US" sz="1800" b="1" dirty="0">
                <a:solidFill>
                  <a:srgbClr val="00396F"/>
                </a:solidFill>
              </a:rPr>
              <a:t>mindset </a:t>
            </a:r>
            <a:r>
              <a:rPr lang="en-US" sz="1800" dirty="0">
                <a:solidFill>
                  <a:srgbClr val="00396F"/>
                </a:solidFill>
              </a:rPr>
              <a:t>as well as in its managerial capabilities. So, future research should address the topic of </a:t>
            </a:r>
            <a:r>
              <a:rPr lang="en-US" sz="1800" b="1" dirty="0">
                <a:solidFill>
                  <a:srgbClr val="00396F"/>
                </a:solidFill>
              </a:rPr>
              <a:t>how companies </a:t>
            </a:r>
            <a:r>
              <a:rPr lang="en-US" sz="1800" dirty="0">
                <a:solidFill>
                  <a:srgbClr val="00396F"/>
                </a:solidFill>
              </a:rPr>
              <a:t>can effectively orchestrate and </a:t>
            </a:r>
            <a:r>
              <a:rPr lang="en-US" sz="1800" b="1" dirty="0">
                <a:solidFill>
                  <a:srgbClr val="00396F"/>
                </a:solidFill>
              </a:rPr>
              <a:t>manage</a:t>
            </a:r>
            <a:r>
              <a:rPr lang="en-US" sz="1800" dirty="0">
                <a:solidFill>
                  <a:srgbClr val="00396F"/>
                </a:solidFill>
              </a:rPr>
              <a:t> this </a:t>
            </a:r>
            <a:r>
              <a:rPr lang="en-US" sz="1800" b="1" dirty="0">
                <a:solidFill>
                  <a:srgbClr val="00396F"/>
                </a:solidFill>
              </a:rPr>
              <a:t>new type of co-creation-based model</a:t>
            </a:r>
            <a:r>
              <a:rPr lang="en-US" sz="1800" dirty="0">
                <a:solidFill>
                  <a:srgbClr val="00396F"/>
                </a:solidFill>
              </a:rPr>
              <a:t>.</a:t>
            </a:r>
          </a:p>
        </p:txBody>
      </p:sp>
      <p:graphicFrame>
        <p:nvGraphicFramePr>
          <p:cNvPr id="2" name="Object 1" hidden="1">
            <a:extLst>
              <a:ext uri="{FF2B5EF4-FFF2-40B4-BE49-F238E27FC236}">
                <a16:creationId xmlns:a16="http://schemas.microsoft.com/office/drawing/2014/main" id="{523C9041-C1CD-4509-8526-7B962C1C20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23C9041-C1CD-4509-8526-7B962C1C2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6" name="object 24">
            <a:extLst>
              <a:ext uri="{FF2B5EF4-FFF2-40B4-BE49-F238E27FC236}">
                <a16:creationId xmlns:a16="http://schemas.microsoft.com/office/drawing/2014/main" id="{D12443A4-BC93-6002-A5C0-073C2FA52B7C}"/>
              </a:ext>
            </a:extLst>
          </p:cNvPr>
          <p:cNvSpPr txBox="1">
            <a:spLocks noGrp="1"/>
          </p:cNvSpPr>
          <p:nvPr>
            <p:ph type="title"/>
          </p:nvPr>
        </p:nvSpPr>
        <p:spPr>
          <a:xfrm>
            <a:off x="514349" y="570118"/>
            <a:ext cx="11677651" cy="627736"/>
          </a:xfrm>
          <a:prstGeom prst="rect">
            <a:avLst/>
          </a:prstGeom>
        </p:spPr>
        <p:txBody>
          <a:bodyPr vert="horz" wrap="square" lIns="0" tIns="12065" rIns="0" bIns="0" rtlCol="0">
            <a:spAutoFit/>
          </a:bodyPr>
          <a:lstStyle/>
          <a:p>
            <a:pPr marL="12700">
              <a:lnSpc>
                <a:spcPct val="100000"/>
              </a:lnSpc>
              <a:spcBef>
                <a:spcPts val="95"/>
              </a:spcBef>
            </a:pPr>
            <a:r>
              <a:rPr lang="it-IT" sz="4000" b="1" spc="-5" dirty="0" err="1">
                <a:solidFill>
                  <a:srgbClr val="00396F"/>
                </a:solidFill>
                <a:latin typeface="+mn-lt"/>
                <a:cs typeface="Calibri"/>
              </a:rPr>
              <a:t>Limitations</a:t>
            </a:r>
            <a:r>
              <a:rPr lang="it-IT" sz="4000" b="1" spc="-5" dirty="0">
                <a:solidFill>
                  <a:srgbClr val="00396F"/>
                </a:solidFill>
                <a:latin typeface="+mn-lt"/>
                <a:cs typeface="Calibri"/>
              </a:rPr>
              <a:t> and future </a:t>
            </a:r>
            <a:r>
              <a:rPr lang="it-IT" sz="4000" b="1" spc="-5" dirty="0" err="1">
                <a:solidFill>
                  <a:srgbClr val="00396F"/>
                </a:solidFill>
                <a:latin typeface="+mn-lt"/>
                <a:cs typeface="Calibri"/>
              </a:rPr>
              <a:t>research</a:t>
            </a:r>
            <a:endParaRPr sz="4000" dirty="0">
              <a:solidFill>
                <a:srgbClr val="BEBDBD"/>
              </a:solidFill>
            </a:endParaRPr>
          </a:p>
        </p:txBody>
      </p:sp>
      <p:sp>
        <p:nvSpPr>
          <p:cNvPr id="3" name="Slide Number Placeholder 6">
            <a:extLst>
              <a:ext uri="{FF2B5EF4-FFF2-40B4-BE49-F238E27FC236}">
                <a16:creationId xmlns:a16="http://schemas.microsoft.com/office/drawing/2014/main" id="{64BA54B7-C259-7BDA-8C13-9ED863A2276B}"/>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24</a:t>
            </a:fld>
            <a:endParaRPr lang="en-GB" dirty="0">
              <a:solidFill>
                <a:srgbClr val="00396F"/>
              </a:solidFill>
              <a:latin typeface="Abadi" panose="020B0604020104020204" pitchFamily="34" charset="0"/>
            </a:endParaRPr>
          </a:p>
        </p:txBody>
      </p:sp>
    </p:spTree>
    <p:extLst>
      <p:ext uri="{BB962C8B-B14F-4D97-AF65-F5344CB8AC3E}">
        <p14:creationId xmlns:p14="http://schemas.microsoft.com/office/powerpoint/2010/main" val="3243649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3C9041-C1CD-4509-8526-7B962C1C20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23C9041-C1CD-4509-8526-7B962C1C2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E7F1E4C-4090-FE6F-CF34-73CBC3417C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64BA54B7-C259-7BDA-8C13-9ED863A2276B}"/>
              </a:ext>
            </a:extLst>
          </p:cNvPr>
          <p:cNvSpPr>
            <a:spLocks noGrp="1"/>
          </p:cNvSpPr>
          <p:nvPr>
            <p:ph type="sldNum" sz="quarter" idx="12"/>
          </p:nvPr>
        </p:nvSpPr>
        <p:spPr>
          <a:xfrm>
            <a:off x="9267825" y="6356348"/>
            <a:ext cx="2743200" cy="365125"/>
          </a:xfrm>
        </p:spPr>
        <p:txBody>
          <a:bodyPr/>
          <a:lstStyle/>
          <a:p>
            <a:r>
              <a:rPr lang="en-GB" dirty="0">
                <a:solidFill>
                  <a:srgbClr val="00396F"/>
                </a:solidFill>
                <a:latin typeface="Abadi" panose="020B0604020104020204" pitchFamily="34" charset="0"/>
              </a:rPr>
              <a:t>11</a:t>
            </a:r>
          </a:p>
        </p:txBody>
      </p:sp>
      <p:sp>
        <p:nvSpPr>
          <p:cNvPr id="7" name="Rectangle 6">
            <a:extLst>
              <a:ext uri="{FF2B5EF4-FFF2-40B4-BE49-F238E27FC236}">
                <a16:creationId xmlns:a16="http://schemas.microsoft.com/office/drawing/2014/main" id="{8387854C-7F06-0161-6992-E78C5176A2C8}"/>
              </a:ext>
            </a:extLst>
          </p:cNvPr>
          <p:cNvSpPr/>
          <p:nvPr/>
        </p:nvSpPr>
        <p:spPr>
          <a:xfrm>
            <a:off x="3383830" y="2745780"/>
            <a:ext cx="5424340" cy="1077218"/>
          </a:xfrm>
          <a:prstGeom prst="rect">
            <a:avLst/>
          </a:prstGeom>
        </p:spPr>
        <p:txBody>
          <a:bodyPr wrap="square">
            <a:spAutoFit/>
          </a:bodyPr>
          <a:lstStyle/>
          <a:p>
            <a:pPr algn="ctr"/>
            <a:r>
              <a:rPr lang="en-US" sz="3200" b="1" dirty="0">
                <a:solidFill>
                  <a:srgbClr val="003970"/>
                </a:solidFill>
                <a:latin typeface="Arial"/>
                <a:ea typeface="+mj-ea"/>
                <a:cs typeface="Arial"/>
              </a:rPr>
              <a:t>Thank you for your attention!</a:t>
            </a:r>
            <a:endParaRPr lang="x-none" sz="3200" b="1" dirty="0">
              <a:solidFill>
                <a:srgbClr val="003970"/>
              </a:solidFill>
              <a:latin typeface="Arial"/>
              <a:ea typeface="+mj-ea"/>
              <a:cs typeface="Arial"/>
            </a:endParaRPr>
          </a:p>
        </p:txBody>
      </p:sp>
    </p:spTree>
    <p:extLst>
      <p:ext uri="{BB962C8B-B14F-4D97-AF65-F5344CB8AC3E}">
        <p14:creationId xmlns:p14="http://schemas.microsoft.com/office/powerpoint/2010/main" val="3869880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97F5C4-41B1-8A34-54B1-7FC7F567ADCB}"/>
            </a:ext>
          </a:extLst>
        </p:cNvPr>
        <p:cNvGrpSpPr/>
        <p:nvPr/>
      </p:nvGrpSpPr>
      <p:grpSpPr>
        <a:xfrm>
          <a:off x="0" y="0"/>
          <a:ext cx="0" cy="0"/>
          <a:chOff x="0" y="0"/>
          <a:chExt cx="0" cy="0"/>
        </a:xfrm>
      </p:grpSpPr>
      <p:sp>
        <p:nvSpPr>
          <p:cNvPr id="7" name="Rectangle: Rounded Corners 72">
            <a:extLst>
              <a:ext uri="{FF2B5EF4-FFF2-40B4-BE49-F238E27FC236}">
                <a16:creationId xmlns:a16="http://schemas.microsoft.com/office/drawing/2014/main" id="{4FDF11D6-8E69-6648-8449-5AD27FA9BD3D}"/>
              </a:ext>
            </a:extLst>
          </p:cNvPr>
          <p:cNvSpPr/>
          <p:nvPr/>
        </p:nvSpPr>
        <p:spPr>
          <a:xfrm>
            <a:off x="6500192" y="3020385"/>
            <a:ext cx="5090022" cy="2715895"/>
          </a:xfrm>
          <a:prstGeom prst="roundRect">
            <a:avLst>
              <a:gd name="adj" fmla="val 3683"/>
            </a:avLst>
          </a:prstGeom>
          <a:solidFill>
            <a:schemeClr val="bg1"/>
          </a:solidFill>
          <a:ln w="19050">
            <a:solidFill>
              <a:srgbClr val="00338D"/>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lgn="ctr">
              <a:buFont typeface="Wingdings" panose="05000000000000000000" pitchFamily="2" charset="2"/>
              <a:buChar char="§"/>
            </a:pPr>
            <a:endParaRPr lang="it-IT" sz="900" dirty="0">
              <a:solidFill>
                <a:schemeClr val="bg1"/>
              </a:solidFill>
            </a:endParaRPr>
          </a:p>
        </p:txBody>
      </p:sp>
      <p:sp>
        <p:nvSpPr>
          <p:cNvPr id="10" name="Rectangle: Rounded Corners 171">
            <a:extLst>
              <a:ext uri="{FF2B5EF4-FFF2-40B4-BE49-F238E27FC236}">
                <a16:creationId xmlns:a16="http://schemas.microsoft.com/office/drawing/2014/main" id="{F42D87E8-90B2-3ECC-EB90-6BC77077C841}"/>
              </a:ext>
            </a:extLst>
          </p:cNvPr>
          <p:cNvSpPr/>
          <p:nvPr/>
        </p:nvSpPr>
        <p:spPr>
          <a:xfrm>
            <a:off x="601786" y="3020385"/>
            <a:ext cx="5381571" cy="2715895"/>
          </a:xfrm>
          <a:prstGeom prst="roundRect">
            <a:avLst>
              <a:gd name="adj" fmla="val 2644"/>
            </a:avLst>
          </a:prstGeom>
          <a:solidFill>
            <a:schemeClr val="bg1"/>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171450" indent="-171450" algn="just">
              <a:buFont typeface="Arial" panose="020B0604020202020204" pitchFamily="34" charset="0"/>
              <a:buChar char="•"/>
            </a:pPr>
            <a:r>
              <a:rPr lang="it-IT" sz="1100">
                <a:solidFill>
                  <a:srgbClr val="00338D"/>
                </a:solidFill>
              </a:rPr>
              <a:t>.</a:t>
            </a:r>
          </a:p>
        </p:txBody>
      </p:sp>
      <p:sp>
        <p:nvSpPr>
          <p:cNvPr id="11" name="Rectangle 15">
            <a:extLst>
              <a:ext uri="{FF2B5EF4-FFF2-40B4-BE49-F238E27FC236}">
                <a16:creationId xmlns:a16="http://schemas.microsoft.com/office/drawing/2014/main" id="{403B3FD8-D268-5DE4-3536-F7D22D70DDC7}"/>
              </a:ext>
            </a:extLst>
          </p:cNvPr>
          <p:cNvSpPr/>
          <p:nvPr/>
        </p:nvSpPr>
        <p:spPr>
          <a:xfrm>
            <a:off x="7660132" y="2333830"/>
            <a:ext cx="2951626" cy="431008"/>
          </a:xfrm>
          <a:prstGeom prst="roundRect">
            <a:avLst/>
          </a:prstGeom>
          <a:solidFill>
            <a:srgbClr val="00338D"/>
          </a:solidFill>
          <a:ln w="12700" cap="flat" cmpd="sng" algn="ctr">
            <a:noFill/>
            <a:prstDash val="solid"/>
            <a:miter lim="800000"/>
          </a:ln>
          <a:effectLst/>
        </p:spPr>
        <p:txBody>
          <a:bodyPr lIns="180000" tIns="180000" rIns="180000" bIns="180000" rtlCol="0" anchor="ctr" anchorCtr="0"/>
          <a:lstStyle/>
          <a:p>
            <a:pPr algn="ctr">
              <a:lnSpc>
                <a:spcPct val="70000"/>
              </a:lnSpc>
              <a:spcAft>
                <a:spcPts val="600"/>
              </a:spcAft>
            </a:pPr>
            <a:r>
              <a:rPr lang="en-GB" b="1" kern="0" dirty="0" err="1">
                <a:solidFill>
                  <a:srgbClr val="FFFFFF"/>
                </a:solidFill>
              </a:rPr>
              <a:t>Strenghts</a:t>
            </a:r>
            <a:endParaRPr lang="en-GB" b="1" kern="0" dirty="0">
              <a:solidFill>
                <a:srgbClr val="FFFFFF"/>
              </a:solidFill>
            </a:endParaRPr>
          </a:p>
        </p:txBody>
      </p:sp>
      <p:sp>
        <p:nvSpPr>
          <p:cNvPr id="12" name="Rectangle 8">
            <a:extLst>
              <a:ext uri="{FF2B5EF4-FFF2-40B4-BE49-F238E27FC236}">
                <a16:creationId xmlns:a16="http://schemas.microsoft.com/office/drawing/2014/main" id="{CA020437-7F30-C463-E5AF-A53C9ECA797D}"/>
              </a:ext>
            </a:extLst>
          </p:cNvPr>
          <p:cNvSpPr/>
          <p:nvPr/>
        </p:nvSpPr>
        <p:spPr>
          <a:xfrm>
            <a:off x="1669177" y="2333830"/>
            <a:ext cx="3246789" cy="431008"/>
          </a:xfrm>
          <a:prstGeom prst="roundRect">
            <a:avLst/>
          </a:prstGeom>
          <a:solidFill>
            <a:srgbClr val="1E49E2"/>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b="1" i="0" u="none" strike="noStrike" kern="0" cap="none" spc="0" normalizeH="0" baseline="0" noProof="0" dirty="0">
                <a:ln>
                  <a:noFill/>
                </a:ln>
                <a:solidFill>
                  <a:srgbClr val="FFFFFF"/>
                </a:solidFill>
                <a:effectLst/>
                <a:uLnTx/>
                <a:uFillTx/>
                <a:ea typeface="+mn-ea"/>
                <a:cs typeface="+mn-cs"/>
              </a:rPr>
              <a:t>Limitations</a:t>
            </a:r>
          </a:p>
        </p:txBody>
      </p:sp>
      <p:graphicFrame>
        <p:nvGraphicFramePr>
          <p:cNvPr id="4" name="Object 3" hidden="1">
            <a:extLst>
              <a:ext uri="{FF2B5EF4-FFF2-40B4-BE49-F238E27FC236}">
                <a16:creationId xmlns:a16="http://schemas.microsoft.com/office/drawing/2014/main" id="{E3B6B79D-4334-CEC8-DC82-96AE847BE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4" name="Object 3" hidden="1">
                        <a:extLst>
                          <a:ext uri="{FF2B5EF4-FFF2-40B4-BE49-F238E27FC236}">
                            <a16:creationId xmlns:a16="http://schemas.microsoft.com/office/drawing/2014/main" id="{E3B6B79D-4334-CEC8-DC82-96AE847BE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D9C07B76-5B93-3D62-24C5-100B3D0D9379}"/>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AA36A3DA-1029-B3EF-FAB1-948E5F940364}"/>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3</a:t>
            </a:fld>
            <a:endParaRPr lang="en-GB" dirty="0">
              <a:solidFill>
                <a:srgbClr val="00396F"/>
              </a:solidFill>
              <a:latin typeface="Abadi" panose="020B0604020104020204" pitchFamily="34" charset="0"/>
            </a:endParaRPr>
          </a:p>
        </p:txBody>
      </p:sp>
      <p:sp>
        <p:nvSpPr>
          <p:cNvPr id="2" name="CasellaDiTesto 1">
            <a:extLst>
              <a:ext uri="{FF2B5EF4-FFF2-40B4-BE49-F238E27FC236}">
                <a16:creationId xmlns:a16="http://schemas.microsoft.com/office/drawing/2014/main" id="{2A8746B6-E49B-52D8-072C-4453AC5AE516}"/>
              </a:ext>
            </a:extLst>
          </p:cNvPr>
          <p:cNvSpPr txBox="1"/>
          <p:nvPr/>
        </p:nvSpPr>
        <p:spPr>
          <a:xfrm>
            <a:off x="927478" y="3639668"/>
            <a:ext cx="4730187" cy="1477328"/>
          </a:xfrm>
          <a:prstGeom prst="rect">
            <a:avLst/>
          </a:prstGeom>
          <a:noFill/>
        </p:spPr>
        <p:txBody>
          <a:bodyPr wrap="square" rtlCol="0">
            <a:spAutoFit/>
          </a:bodyPr>
          <a:lstStyle/>
          <a:p>
            <a:pPr marL="285750" indent="-285750">
              <a:buFont typeface="Wingdings" panose="05000000000000000000" pitchFamily="2" charset="2"/>
              <a:buChar char="§"/>
            </a:pPr>
            <a:r>
              <a:rPr lang="it-IT" b="1" dirty="0">
                <a:solidFill>
                  <a:srgbClr val="00396F"/>
                </a:solidFill>
              </a:rPr>
              <a:t>Difficoltà a rilevare contesto e sfumature</a:t>
            </a:r>
          </a:p>
          <a:p>
            <a:pPr marL="285750" indent="-285750">
              <a:buFont typeface="Wingdings" panose="05000000000000000000" pitchFamily="2" charset="2"/>
              <a:buChar char="§"/>
            </a:pPr>
            <a:r>
              <a:rPr lang="it-IT" b="1" dirty="0">
                <a:solidFill>
                  <a:srgbClr val="00396F"/>
                </a:solidFill>
              </a:rPr>
              <a:t>Difficoltà a comprendere contesti complessi e multimodali</a:t>
            </a:r>
          </a:p>
          <a:p>
            <a:pPr marL="285750" indent="-285750">
              <a:buFont typeface="Wingdings" panose="05000000000000000000" pitchFamily="2" charset="2"/>
              <a:buChar char="§"/>
            </a:pPr>
            <a:r>
              <a:rPr lang="it-IT" b="1" dirty="0">
                <a:solidFill>
                  <a:srgbClr val="00396F"/>
                </a:solidFill>
              </a:rPr>
              <a:t>Problemi di accuratezza in dati rumorosi</a:t>
            </a:r>
          </a:p>
          <a:p>
            <a:pPr marL="285750" indent="-285750">
              <a:buFont typeface="Wingdings" panose="05000000000000000000" pitchFamily="2" charset="2"/>
              <a:buChar char="§"/>
            </a:pPr>
            <a:r>
              <a:rPr lang="it-IT" b="1" dirty="0">
                <a:solidFill>
                  <a:srgbClr val="00396F"/>
                </a:solidFill>
              </a:rPr>
              <a:t>Capacità limitata di rilevare aspetti specifici</a:t>
            </a:r>
          </a:p>
        </p:txBody>
      </p:sp>
      <p:sp>
        <p:nvSpPr>
          <p:cNvPr id="5" name="CasellaDiTesto 4">
            <a:extLst>
              <a:ext uri="{FF2B5EF4-FFF2-40B4-BE49-F238E27FC236}">
                <a16:creationId xmlns:a16="http://schemas.microsoft.com/office/drawing/2014/main" id="{11EF8D98-DED0-9F90-B998-8F75D4391AB5}"/>
              </a:ext>
            </a:extLst>
          </p:cNvPr>
          <p:cNvSpPr txBox="1"/>
          <p:nvPr/>
        </p:nvSpPr>
        <p:spPr>
          <a:xfrm>
            <a:off x="7009796" y="3639668"/>
            <a:ext cx="4070815" cy="1477328"/>
          </a:xfrm>
          <a:prstGeom prst="rect">
            <a:avLst/>
          </a:prstGeom>
          <a:noFill/>
        </p:spPr>
        <p:txBody>
          <a:bodyPr wrap="square" rtlCol="0">
            <a:spAutoFit/>
          </a:bodyPr>
          <a:lstStyle/>
          <a:p>
            <a:pPr marL="285750" indent="-285750">
              <a:buFont typeface="Wingdings" panose="05000000000000000000" pitchFamily="2" charset="2"/>
              <a:buChar char="§"/>
            </a:pPr>
            <a:r>
              <a:rPr lang="it-IT" b="1" dirty="0">
                <a:solidFill>
                  <a:srgbClr val="00396F"/>
                </a:solidFill>
              </a:rPr>
              <a:t>Automatizzazione dell'analisi:</a:t>
            </a:r>
          </a:p>
          <a:p>
            <a:pPr marL="285750" indent="-285750">
              <a:buFont typeface="Wingdings" panose="05000000000000000000" pitchFamily="2" charset="2"/>
              <a:buChar char="§"/>
            </a:pPr>
            <a:r>
              <a:rPr lang="it-IT" b="1" dirty="0">
                <a:solidFill>
                  <a:srgbClr val="00396F"/>
                </a:solidFill>
              </a:rPr>
              <a:t>Monitoraggio in tempo reale:</a:t>
            </a:r>
          </a:p>
          <a:p>
            <a:pPr marL="285750" indent="-285750">
              <a:buFont typeface="Wingdings" panose="05000000000000000000" pitchFamily="2" charset="2"/>
              <a:buChar char="§"/>
            </a:pPr>
            <a:r>
              <a:rPr lang="it-IT" b="1" dirty="0">
                <a:solidFill>
                  <a:srgbClr val="00396F"/>
                </a:solidFill>
              </a:rPr>
              <a:t>Risparmio di tempo e risorse:</a:t>
            </a:r>
          </a:p>
          <a:p>
            <a:pPr marL="285750" indent="-285750">
              <a:buFont typeface="Wingdings" panose="05000000000000000000" pitchFamily="2" charset="2"/>
              <a:buChar char="§"/>
            </a:pPr>
            <a:r>
              <a:rPr lang="it-IT" b="1" dirty="0">
                <a:solidFill>
                  <a:srgbClr val="00396F"/>
                </a:solidFill>
              </a:rPr>
              <a:t>Capacità di analizzare trend:</a:t>
            </a:r>
            <a:br>
              <a:rPr lang="it-IT" b="1" dirty="0">
                <a:solidFill>
                  <a:srgbClr val="00396F"/>
                </a:solidFill>
              </a:rPr>
            </a:br>
            <a:endParaRPr lang="it-IT" b="1" dirty="0">
              <a:solidFill>
                <a:srgbClr val="00396F"/>
              </a:solidFill>
            </a:endParaRPr>
          </a:p>
        </p:txBody>
      </p:sp>
      <p:sp>
        <p:nvSpPr>
          <p:cNvPr id="9" name="Title 2">
            <a:extLst>
              <a:ext uri="{FF2B5EF4-FFF2-40B4-BE49-F238E27FC236}">
                <a16:creationId xmlns:a16="http://schemas.microsoft.com/office/drawing/2014/main" id="{9DDFF07B-809F-BADB-DAB1-1A39B2A053A7}"/>
              </a:ext>
            </a:extLst>
          </p:cNvPr>
          <p:cNvSpPr txBox="1">
            <a:spLocks/>
          </p:cNvSpPr>
          <p:nvPr/>
        </p:nvSpPr>
        <p:spPr>
          <a:xfrm>
            <a:off x="167597" y="176229"/>
            <a:ext cx="5928403"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it-IT" sz="3200" b="1" spc="-5" dirty="0" err="1">
                <a:solidFill>
                  <a:srgbClr val="00396F"/>
                </a:solidFill>
                <a:latin typeface="+mn-lt"/>
                <a:cs typeface="Calibri"/>
              </a:rPr>
              <a:t>What</a:t>
            </a:r>
            <a:r>
              <a:rPr lang="it-IT" sz="3200" b="1" spc="-5" dirty="0">
                <a:solidFill>
                  <a:srgbClr val="00396F"/>
                </a:solidFill>
                <a:latin typeface="+mn-lt"/>
                <a:cs typeface="Calibri"/>
              </a:rPr>
              <a:t> </a:t>
            </a:r>
            <a:r>
              <a:rPr lang="it-IT" sz="3200" b="1" spc="-5" dirty="0" err="1">
                <a:solidFill>
                  <a:srgbClr val="00396F"/>
                </a:solidFill>
                <a:latin typeface="+mn-lt"/>
                <a:cs typeface="Calibri"/>
              </a:rPr>
              <a:t>is</a:t>
            </a:r>
            <a:r>
              <a:rPr lang="it-IT" sz="3200" b="1" spc="-5" dirty="0">
                <a:solidFill>
                  <a:srgbClr val="00396F"/>
                </a:solidFill>
                <a:latin typeface="+mn-lt"/>
                <a:cs typeface="Calibri"/>
              </a:rPr>
              <a:t> the sentiment </a:t>
            </a:r>
            <a:r>
              <a:rPr lang="it-IT" sz="3200" b="1" spc="-5" dirty="0" err="1">
                <a:solidFill>
                  <a:srgbClr val="00396F"/>
                </a:solidFill>
                <a:latin typeface="+mn-lt"/>
                <a:cs typeface="Calibri"/>
              </a:rPr>
              <a:t>analysis</a:t>
            </a:r>
            <a:r>
              <a:rPr lang="it-IT" sz="3200" b="1" spc="-5" dirty="0">
                <a:solidFill>
                  <a:srgbClr val="00396F"/>
                </a:solidFill>
                <a:latin typeface="+mn-lt"/>
                <a:cs typeface="Calibri"/>
              </a:rPr>
              <a:t>?</a:t>
            </a:r>
            <a:endParaRPr lang="it-IT" sz="3200" i="1" dirty="0">
              <a:solidFill>
                <a:srgbClr val="00396F"/>
              </a:solidFill>
            </a:endParaRPr>
          </a:p>
        </p:txBody>
      </p:sp>
      <p:sp>
        <p:nvSpPr>
          <p:cNvPr id="6" name="Scorrimento orizzontale 5">
            <a:extLst>
              <a:ext uri="{FF2B5EF4-FFF2-40B4-BE49-F238E27FC236}">
                <a16:creationId xmlns:a16="http://schemas.microsoft.com/office/drawing/2014/main" id="{D8AAA097-0437-C6C7-82E2-C31F80E98FC0}"/>
              </a:ext>
            </a:extLst>
          </p:cNvPr>
          <p:cNvSpPr/>
          <p:nvPr/>
        </p:nvSpPr>
        <p:spPr>
          <a:xfrm>
            <a:off x="796004" y="829569"/>
            <a:ext cx="10583196" cy="1315986"/>
          </a:xfrm>
          <a:prstGeom prst="horizontalScroll">
            <a:avLst/>
          </a:prstGeom>
          <a:solidFill>
            <a:schemeClr val="bg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latin typeface="Verdana" panose="020B0604030504040204" pitchFamily="34" charset="0"/>
              <a:ea typeface="Verdana" panose="020B0604030504040204" pitchFamily="34" charset="0"/>
            </a:endParaRPr>
          </a:p>
        </p:txBody>
      </p:sp>
      <p:sp>
        <p:nvSpPr>
          <p:cNvPr id="14" name="CasellaDiTesto 13">
            <a:extLst>
              <a:ext uri="{FF2B5EF4-FFF2-40B4-BE49-F238E27FC236}">
                <a16:creationId xmlns:a16="http://schemas.microsoft.com/office/drawing/2014/main" id="{5E59F33E-8CDB-9344-5D8B-27CCFC4D5424}"/>
              </a:ext>
            </a:extLst>
          </p:cNvPr>
          <p:cNvSpPr txBox="1"/>
          <p:nvPr/>
        </p:nvSpPr>
        <p:spPr>
          <a:xfrm>
            <a:off x="1190924" y="1195175"/>
            <a:ext cx="9793356" cy="584775"/>
          </a:xfrm>
          <a:prstGeom prst="rect">
            <a:avLst/>
          </a:prstGeom>
          <a:noFill/>
        </p:spPr>
        <p:txBody>
          <a:bodyPr wrap="square">
            <a:spAutoFit/>
          </a:bodyPr>
          <a:lstStyle/>
          <a:p>
            <a:r>
              <a:rPr lang="en-US" sz="1600" dirty="0">
                <a:solidFill>
                  <a:srgbClr val="00396F"/>
                </a:solidFill>
                <a:effectLst/>
                <a:ea typeface="Aptos" panose="020B0004020202020204" pitchFamily="34" charset="0"/>
                <a:cs typeface="Arial" panose="020B0604020202020204" pitchFamily="34" charset="0"/>
              </a:rPr>
              <a:t>«</a:t>
            </a:r>
            <a:r>
              <a:rPr lang="en-US" sz="1600" b="1" i="1" dirty="0">
                <a:solidFill>
                  <a:srgbClr val="00396F"/>
                </a:solidFill>
                <a:effectLst/>
                <a:ea typeface="Aptos" panose="020B0004020202020204" pitchFamily="34" charset="0"/>
                <a:cs typeface="Arial" panose="020B0604020202020204" pitchFamily="34" charset="0"/>
              </a:rPr>
              <a:t>Automatic analysis of opinions and feelings expressed in a text</a:t>
            </a:r>
            <a:r>
              <a:rPr lang="en-US" sz="1600" dirty="0">
                <a:solidFill>
                  <a:srgbClr val="00396F"/>
                </a:solidFill>
                <a:effectLst/>
                <a:ea typeface="Aptos" panose="020B0004020202020204" pitchFamily="34" charset="0"/>
                <a:cs typeface="Arial" panose="020B0604020202020204" pitchFamily="34" charset="0"/>
              </a:rPr>
              <a:t>»</a:t>
            </a:r>
          </a:p>
          <a:p>
            <a:r>
              <a:rPr lang="en-US" sz="1600" i="1" dirty="0">
                <a:solidFill>
                  <a:srgbClr val="00396F"/>
                </a:solidFill>
                <a:effectLst/>
                <a:ea typeface="Aptos" panose="020B0004020202020204" pitchFamily="34" charset="0"/>
                <a:cs typeface="Arial" panose="020B0604020202020204" pitchFamily="34" charset="0"/>
              </a:rPr>
              <a:t>                                             Liu, Bing (2012): Sentiment Analysis and Opinion Mining. Morgan &amp; Claypool Publishers</a:t>
            </a:r>
            <a:endParaRPr lang="it-IT" sz="1600" i="1" dirty="0">
              <a:solidFill>
                <a:srgbClr val="00396F"/>
              </a:solidFill>
              <a:effectLst/>
              <a:ea typeface="Aptos" panose="020B0004020202020204" pitchFamily="34" charset="0"/>
              <a:cs typeface="Arial" panose="020B0604020202020204" pitchFamily="34" charset="0"/>
            </a:endParaRPr>
          </a:p>
        </p:txBody>
      </p:sp>
      <p:cxnSp>
        <p:nvCxnSpPr>
          <p:cNvPr id="16" name="Straight Connector 4">
            <a:extLst>
              <a:ext uri="{FF2B5EF4-FFF2-40B4-BE49-F238E27FC236}">
                <a16:creationId xmlns:a16="http://schemas.microsoft.com/office/drawing/2014/main" id="{DF2FCE6A-CA73-5C9F-468F-ED71643EF57A}"/>
              </a:ext>
            </a:extLst>
          </p:cNvPr>
          <p:cNvCxnSpPr>
            <a:cxnSpLocks/>
          </p:cNvCxnSpPr>
          <p:nvPr/>
        </p:nvCxnSpPr>
        <p:spPr>
          <a:xfrm>
            <a:off x="6224357" y="2482468"/>
            <a:ext cx="0" cy="3253812"/>
          </a:xfrm>
          <a:prstGeom prst="line">
            <a:avLst/>
          </a:prstGeom>
          <a:noFill/>
          <a:ln w="12700" cap="flat" cmpd="sng" algn="ctr">
            <a:solidFill>
              <a:srgbClr val="00338D"/>
            </a:solidFill>
            <a:prstDash val="dashDot"/>
            <a:miter lim="800000"/>
          </a:ln>
          <a:effectLst/>
        </p:spPr>
      </p:cxnSp>
    </p:spTree>
    <p:extLst>
      <p:ext uri="{BB962C8B-B14F-4D97-AF65-F5344CB8AC3E}">
        <p14:creationId xmlns:p14="http://schemas.microsoft.com/office/powerpoint/2010/main" val="322576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E1F770-1BC1-4CE0-B216-81285C5EC1CE}"/>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47C424-D303-EBB7-0BC2-95E1E078CE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1E47C424-D303-EBB7-0BC2-95E1E078C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B6EC05C6-2604-5389-01C4-613B016C7B8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86C2119B-0D58-29F1-A65B-1EB7FA5A64F5}"/>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4</a:t>
            </a:fld>
            <a:endParaRPr lang="en-GB" dirty="0">
              <a:solidFill>
                <a:srgbClr val="00396F"/>
              </a:solidFill>
              <a:latin typeface="Abadi" panose="020B0604020104020204" pitchFamily="34" charset="0"/>
            </a:endParaRPr>
          </a:p>
        </p:txBody>
      </p:sp>
      <p:sp>
        <p:nvSpPr>
          <p:cNvPr id="7" name="Title 2">
            <a:extLst>
              <a:ext uri="{FF2B5EF4-FFF2-40B4-BE49-F238E27FC236}">
                <a16:creationId xmlns:a16="http://schemas.microsoft.com/office/drawing/2014/main" id="{6055D606-2310-C434-6AA7-71C03DE5F705}"/>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it-IT" sz="3200" b="1" spc="-5" dirty="0">
                <a:solidFill>
                  <a:srgbClr val="00396F"/>
                </a:solidFill>
                <a:latin typeface="+mn-lt"/>
                <a:cs typeface="Calibri"/>
              </a:rPr>
              <a:t>Multimodal </a:t>
            </a:r>
            <a:r>
              <a:rPr lang="it-IT" sz="3200" b="1" spc="-5" dirty="0" err="1">
                <a:solidFill>
                  <a:srgbClr val="00396F"/>
                </a:solidFill>
                <a:latin typeface="+mn-lt"/>
                <a:cs typeface="Calibri"/>
              </a:rPr>
              <a:t>aspect</a:t>
            </a:r>
            <a:r>
              <a:rPr lang="it-IT" sz="3200" b="1" spc="-5" dirty="0">
                <a:solidFill>
                  <a:srgbClr val="00396F"/>
                </a:solidFill>
                <a:latin typeface="+mn-lt"/>
                <a:cs typeface="Calibri"/>
              </a:rPr>
              <a:t> </a:t>
            </a:r>
            <a:r>
              <a:rPr lang="it-IT" sz="3200" b="1" spc="-5" dirty="0" err="1">
                <a:solidFill>
                  <a:srgbClr val="00396F"/>
                </a:solidFill>
                <a:latin typeface="+mn-lt"/>
                <a:cs typeface="Calibri"/>
              </a:rPr>
              <a:t>based</a:t>
            </a:r>
            <a:r>
              <a:rPr lang="it-IT" sz="3200" b="1" spc="-5" dirty="0">
                <a:solidFill>
                  <a:srgbClr val="00396F"/>
                </a:solidFill>
                <a:latin typeface="+mn-lt"/>
                <a:cs typeface="Calibri"/>
              </a:rPr>
              <a:t> sentiment </a:t>
            </a:r>
            <a:r>
              <a:rPr lang="it-IT" sz="3200" b="1" spc="-5" dirty="0" err="1">
                <a:solidFill>
                  <a:srgbClr val="00396F"/>
                </a:solidFill>
                <a:latin typeface="+mn-lt"/>
                <a:cs typeface="Calibri"/>
              </a:rPr>
              <a:t>analysis</a:t>
            </a:r>
            <a:r>
              <a:rPr lang="it-IT" sz="3200" b="1" spc="-5" dirty="0">
                <a:solidFill>
                  <a:srgbClr val="00396F"/>
                </a:solidFill>
                <a:latin typeface="+mn-lt"/>
                <a:cs typeface="Calibri"/>
              </a:rPr>
              <a:t> (MABSA)</a:t>
            </a:r>
            <a:endParaRPr lang="it-IT" sz="3200" i="1" dirty="0">
              <a:solidFill>
                <a:srgbClr val="00396F"/>
              </a:solidFill>
            </a:endParaRPr>
          </a:p>
        </p:txBody>
      </p:sp>
      <p:cxnSp>
        <p:nvCxnSpPr>
          <p:cNvPr id="12" name="Straight Connector 4">
            <a:extLst>
              <a:ext uri="{FF2B5EF4-FFF2-40B4-BE49-F238E27FC236}">
                <a16:creationId xmlns:a16="http://schemas.microsoft.com/office/drawing/2014/main" id="{201F4011-85E4-446B-FC00-BB6AC14E804A}"/>
              </a:ext>
            </a:extLst>
          </p:cNvPr>
          <p:cNvCxnSpPr>
            <a:cxnSpLocks/>
          </p:cNvCxnSpPr>
          <p:nvPr/>
        </p:nvCxnSpPr>
        <p:spPr>
          <a:xfrm>
            <a:off x="4027257" y="1263265"/>
            <a:ext cx="0" cy="1268179"/>
          </a:xfrm>
          <a:prstGeom prst="line">
            <a:avLst/>
          </a:prstGeom>
          <a:noFill/>
          <a:ln w="12700" cap="flat" cmpd="sng" algn="ctr">
            <a:solidFill>
              <a:srgbClr val="00338D"/>
            </a:solidFill>
            <a:prstDash val="dashDot"/>
            <a:miter lim="800000"/>
          </a:ln>
          <a:effectLst/>
        </p:spPr>
      </p:cxnSp>
      <p:cxnSp>
        <p:nvCxnSpPr>
          <p:cNvPr id="13" name="Straight Connector 25">
            <a:extLst>
              <a:ext uri="{FF2B5EF4-FFF2-40B4-BE49-F238E27FC236}">
                <a16:creationId xmlns:a16="http://schemas.microsoft.com/office/drawing/2014/main" id="{295414B9-C861-6857-63E7-7FFDFC8F3916}"/>
              </a:ext>
            </a:extLst>
          </p:cNvPr>
          <p:cNvCxnSpPr>
            <a:cxnSpLocks/>
          </p:cNvCxnSpPr>
          <p:nvPr/>
        </p:nvCxnSpPr>
        <p:spPr>
          <a:xfrm>
            <a:off x="8047271" y="1263265"/>
            <a:ext cx="0" cy="1268179"/>
          </a:xfrm>
          <a:prstGeom prst="line">
            <a:avLst/>
          </a:prstGeom>
          <a:noFill/>
          <a:ln w="12700" cap="flat" cmpd="sng" algn="ctr">
            <a:solidFill>
              <a:srgbClr val="00338D"/>
            </a:solidFill>
            <a:prstDash val="dashDot"/>
            <a:miter lim="800000"/>
          </a:ln>
          <a:effectLst/>
        </p:spPr>
      </p:cxnSp>
      <p:sp>
        <p:nvSpPr>
          <p:cNvPr id="14" name="Rectangle 8">
            <a:extLst>
              <a:ext uri="{FF2B5EF4-FFF2-40B4-BE49-F238E27FC236}">
                <a16:creationId xmlns:a16="http://schemas.microsoft.com/office/drawing/2014/main" id="{BD6AA598-8F38-D034-AF0A-C72345140257}"/>
              </a:ext>
            </a:extLst>
          </p:cNvPr>
          <p:cNvSpPr/>
          <p:nvPr/>
        </p:nvSpPr>
        <p:spPr>
          <a:xfrm>
            <a:off x="674954" y="1189951"/>
            <a:ext cx="2683296" cy="868102"/>
          </a:xfrm>
          <a:prstGeom prst="roundRect">
            <a:avLst/>
          </a:prstGeom>
          <a:solidFill>
            <a:schemeClr val="accent1">
              <a:lumMod val="75000"/>
            </a:schemeClr>
          </a:solidFill>
          <a:ln w="12700" cap="flat" cmpd="sng" algn="ctr">
            <a:noFill/>
            <a:prstDash val="solid"/>
            <a:miter lim="800000"/>
          </a:ln>
          <a:effectLst/>
        </p:spPr>
        <p:txBody>
          <a:bodyPr lIns="180000" tIns="180000" rIns="180000" bIns="180000" rtlCol="0" anchor="ctr" anchorCtr="0"/>
          <a:lstStyle/>
          <a:p>
            <a:pPr>
              <a:lnSpc>
                <a:spcPct val="70000"/>
              </a:lnSpc>
              <a:spcAft>
                <a:spcPts val="600"/>
              </a:spcAft>
              <a:defRPr/>
            </a:pPr>
            <a:r>
              <a:rPr kumimoji="0" lang="it-IT" sz="1600" b="1" i="0" u="none" strike="noStrike" kern="0" cap="none" spc="0" normalizeH="0" baseline="0" noProof="0" dirty="0">
                <a:ln>
                  <a:noFill/>
                </a:ln>
                <a:solidFill>
                  <a:schemeClr val="bg1"/>
                </a:solidFill>
                <a:effectLst/>
                <a:uLnTx/>
                <a:uFillTx/>
              </a:rPr>
              <a:t>Identificare gli aspetti rilevanti in un contenuto </a:t>
            </a:r>
            <a:r>
              <a:rPr kumimoji="0" lang="it-IT" sz="1600" b="1" i="0" u="none" strike="noStrike" kern="0" cap="none" spc="0" normalizeH="0" baseline="0" noProof="0" dirty="0" err="1">
                <a:ln>
                  <a:noFill/>
                </a:ln>
                <a:solidFill>
                  <a:schemeClr val="bg1"/>
                </a:solidFill>
                <a:effectLst/>
                <a:uLnTx/>
                <a:uFillTx/>
              </a:rPr>
              <a:t>multimodal</a:t>
            </a:r>
            <a:r>
              <a:rPr lang="it-IT" sz="1600" b="1" kern="0" dirty="0">
                <a:solidFill>
                  <a:schemeClr val="bg1"/>
                </a:solidFill>
              </a:rPr>
              <a:t>e.</a:t>
            </a:r>
            <a:endParaRPr kumimoji="0" lang="en-GB" sz="160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70000"/>
              </a:lnSpc>
              <a:spcBef>
                <a:spcPts val="0"/>
              </a:spcBef>
              <a:spcAft>
                <a:spcPts val="60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KPMG Bold"/>
              <a:ea typeface="+mn-ea"/>
              <a:cs typeface="+mn-cs"/>
            </a:endParaRPr>
          </a:p>
        </p:txBody>
      </p:sp>
      <p:sp>
        <p:nvSpPr>
          <p:cNvPr id="16" name="Rectangle 15">
            <a:extLst>
              <a:ext uri="{FF2B5EF4-FFF2-40B4-BE49-F238E27FC236}">
                <a16:creationId xmlns:a16="http://schemas.microsoft.com/office/drawing/2014/main" id="{DC3B8414-AF8B-A9F6-2586-488914391627}"/>
              </a:ext>
            </a:extLst>
          </p:cNvPr>
          <p:cNvSpPr/>
          <p:nvPr/>
        </p:nvSpPr>
        <p:spPr>
          <a:xfrm>
            <a:off x="4696264" y="1263266"/>
            <a:ext cx="2682000" cy="794775"/>
          </a:xfrm>
          <a:prstGeom prst="roundRect">
            <a:avLst/>
          </a:prstGeom>
          <a:solidFill>
            <a:schemeClr val="accent1">
              <a:lumMod val="60000"/>
              <a:lumOff val="40000"/>
            </a:schemeClr>
          </a:solidFill>
          <a:ln w="12700" cap="flat" cmpd="sng" algn="ctr">
            <a:noFill/>
            <a:prstDash val="solid"/>
            <a:miter lim="800000"/>
          </a:ln>
          <a:effectLst/>
        </p:spPr>
        <p:txBody>
          <a:bodyPr lIns="180000" tIns="180000" rIns="180000" bIns="180000" rtlCol="0" anchor="ctr" anchorCtr="0"/>
          <a:lstStyle/>
          <a:p>
            <a:pPr marL="0" marR="0" lvl="0" indent="0" defTabSz="914400" eaLnBrk="1" fontAlgn="auto" latinLnBrk="0" hangingPunct="1">
              <a:lnSpc>
                <a:spcPct val="70000"/>
              </a:lnSpc>
              <a:spcBef>
                <a:spcPts val="0"/>
              </a:spcBef>
              <a:spcAft>
                <a:spcPts val="600"/>
              </a:spcAft>
              <a:buClrTx/>
              <a:buSzTx/>
              <a:buFontTx/>
              <a:buNone/>
              <a:tabLst/>
              <a:defRPr/>
            </a:pPr>
            <a:r>
              <a:rPr kumimoji="0" lang="it-IT" sz="1600" b="1" i="0" u="none" strike="noStrike" kern="0" cap="none" spc="0" normalizeH="0" baseline="0" noProof="0" dirty="0">
                <a:ln>
                  <a:noFill/>
                </a:ln>
                <a:solidFill>
                  <a:srgbClr val="FFFFFF"/>
                </a:solidFill>
                <a:effectLst/>
                <a:uLnTx/>
                <a:uFillTx/>
                <a:ea typeface="+mn-ea"/>
                <a:cs typeface="+mn-cs"/>
              </a:rPr>
              <a:t>Classificare il sentiment per ciascun aspetto.</a:t>
            </a:r>
          </a:p>
          <a:p>
            <a:pPr marL="0" marR="0" lvl="0" indent="0" defTabSz="914400" eaLnBrk="1" fontAlgn="auto" latinLnBrk="0" hangingPunct="1">
              <a:lnSpc>
                <a:spcPct val="70000"/>
              </a:lnSpc>
              <a:spcBef>
                <a:spcPts val="0"/>
              </a:spcBef>
              <a:spcAft>
                <a:spcPts val="600"/>
              </a:spcAft>
              <a:buClrTx/>
              <a:buSzTx/>
              <a:buFontTx/>
              <a:buNone/>
              <a:tabLst/>
              <a:defRPr/>
            </a:pPr>
            <a:endParaRPr kumimoji="0" lang="en-GB" sz="1600" b="1" i="0" u="none" strike="noStrike" kern="0" cap="none" spc="0" normalizeH="0" baseline="0" noProof="0" dirty="0">
              <a:ln>
                <a:noFill/>
              </a:ln>
              <a:solidFill>
                <a:srgbClr val="FFFFFF"/>
              </a:solidFill>
              <a:effectLst/>
              <a:uLnTx/>
              <a:uFillTx/>
              <a:ea typeface="+mn-ea"/>
              <a:cs typeface="+mn-cs"/>
            </a:endParaRPr>
          </a:p>
        </p:txBody>
      </p:sp>
      <p:sp>
        <p:nvSpPr>
          <p:cNvPr id="18" name="Rectangle 28">
            <a:extLst>
              <a:ext uri="{FF2B5EF4-FFF2-40B4-BE49-F238E27FC236}">
                <a16:creationId xmlns:a16="http://schemas.microsoft.com/office/drawing/2014/main" id="{B31B5715-6F24-7B13-3E63-FDB1C1AD51A4}"/>
              </a:ext>
            </a:extLst>
          </p:cNvPr>
          <p:cNvSpPr/>
          <p:nvPr/>
        </p:nvSpPr>
        <p:spPr>
          <a:xfrm>
            <a:off x="8716277" y="1263266"/>
            <a:ext cx="2682000" cy="794776"/>
          </a:xfrm>
          <a:prstGeom prst="roundRect">
            <a:avLst/>
          </a:prstGeom>
          <a:solidFill>
            <a:schemeClr val="accent5">
              <a:lumMod val="60000"/>
              <a:lumOff val="40000"/>
            </a:schemeClr>
          </a:solidFill>
          <a:ln w="12700" cap="flat" cmpd="sng" algn="ctr">
            <a:noFill/>
            <a:prstDash val="solid"/>
            <a:miter lim="800000"/>
          </a:ln>
          <a:effectLst/>
        </p:spPr>
        <p:txBody>
          <a:bodyPr lIns="180000" tIns="180000" rIns="180000" bIns="180000" rtlCol="0" anchor="ctr" anchorCtr="0"/>
          <a:lstStyle/>
          <a:p>
            <a:pPr>
              <a:lnSpc>
                <a:spcPct val="70000"/>
              </a:lnSpc>
              <a:spcAft>
                <a:spcPts val="600"/>
              </a:spcAft>
              <a:defRPr/>
            </a:pPr>
            <a:r>
              <a:rPr kumimoji="0" lang="it-IT" sz="1600" b="1" i="0" u="none" strike="noStrike" kern="0" cap="none" spc="0" normalizeH="0" baseline="0" dirty="0">
                <a:ln>
                  <a:noFill/>
                </a:ln>
                <a:solidFill>
                  <a:schemeClr val="bg1"/>
                </a:solidFill>
                <a:effectLst/>
                <a:uLnTx/>
                <a:uFillTx/>
              </a:rPr>
              <a:t>Combinare informazioni testuali e visive per migliorare l'accuratezza e la comprensione del sentiment espresso.</a:t>
            </a:r>
            <a:endParaRPr kumimoji="0" lang="en-GB" sz="1600" b="0" i="0" u="none" strike="noStrike" kern="0" cap="none" spc="0" normalizeH="0" baseline="0" noProof="0" dirty="0">
              <a:ln>
                <a:noFill/>
              </a:ln>
              <a:solidFill>
                <a:schemeClr val="bg1"/>
              </a:solidFill>
              <a:effectLst/>
              <a:uLnTx/>
              <a:uFillTx/>
            </a:endParaRPr>
          </a:p>
        </p:txBody>
      </p:sp>
      <p:cxnSp>
        <p:nvCxnSpPr>
          <p:cNvPr id="27" name="Straight Connector 3">
            <a:extLst>
              <a:ext uri="{FF2B5EF4-FFF2-40B4-BE49-F238E27FC236}">
                <a16:creationId xmlns:a16="http://schemas.microsoft.com/office/drawing/2014/main" id="{302975E3-B229-F26B-70FF-C310393E1E62}"/>
              </a:ext>
            </a:extLst>
          </p:cNvPr>
          <p:cNvCxnSpPr>
            <a:cxnSpLocks/>
          </p:cNvCxnSpPr>
          <p:nvPr/>
        </p:nvCxnSpPr>
        <p:spPr>
          <a:xfrm>
            <a:off x="674954" y="946546"/>
            <a:ext cx="10476000" cy="0"/>
          </a:xfrm>
          <a:prstGeom prst="line">
            <a:avLst/>
          </a:prstGeom>
          <a:ln w="19050">
            <a:solidFill>
              <a:srgbClr val="00338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8" name="Rectangle 33">
            <a:extLst>
              <a:ext uri="{FF2B5EF4-FFF2-40B4-BE49-F238E27FC236}">
                <a16:creationId xmlns:a16="http://schemas.microsoft.com/office/drawing/2014/main" id="{643AD272-76F2-0ABE-E3DF-817813CAA58F}"/>
              </a:ext>
            </a:extLst>
          </p:cNvPr>
          <p:cNvSpPr/>
          <p:nvPr/>
        </p:nvSpPr>
        <p:spPr>
          <a:xfrm>
            <a:off x="5206105" y="828977"/>
            <a:ext cx="1413698" cy="2386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kern="0" dirty="0">
                <a:solidFill>
                  <a:srgbClr val="00396F"/>
                </a:solidFill>
              </a:rPr>
              <a:t>OBJECTIVES</a:t>
            </a:r>
            <a:endParaRPr kumimoji="0" lang="it-IT" sz="1400" b="0" i="0" u="none" strike="noStrike" kern="1200" cap="none" spc="0" normalizeH="0" baseline="0" noProof="0" dirty="0">
              <a:ln>
                <a:noFill/>
              </a:ln>
              <a:solidFill>
                <a:srgbClr val="00396F"/>
              </a:solidFill>
              <a:effectLst/>
              <a:uLnTx/>
              <a:uFillTx/>
              <a:latin typeface="KPMG Bold" panose="020B0803030202040204" pitchFamily="34" charset="0"/>
              <a:ea typeface="+mn-ea"/>
              <a:cs typeface="+mn-cs"/>
            </a:endParaRPr>
          </a:p>
        </p:txBody>
      </p:sp>
      <p:cxnSp>
        <p:nvCxnSpPr>
          <p:cNvPr id="30" name="Straight Connector 3">
            <a:extLst>
              <a:ext uri="{FF2B5EF4-FFF2-40B4-BE49-F238E27FC236}">
                <a16:creationId xmlns:a16="http://schemas.microsoft.com/office/drawing/2014/main" id="{765B467C-313B-5CE3-219D-B38FB3937E56}"/>
              </a:ext>
            </a:extLst>
          </p:cNvPr>
          <p:cNvCxnSpPr>
            <a:cxnSpLocks/>
          </p:cNvCxnSpPr>
          <p:nvPr/>
        </p:nvCxnSpPr>
        <p:spPr>
          <a:xfrm>
            <a:off x="674954" y="3263535"/>
            <a:ext cx="10476000" cy="0"/>
          </a:xfrm>
          <a:prstGeom prst="line">
            <a:avLst/>
          </a:prstGeom>
          <a:ln w="19050">
            <a:solidFill>
              <a:srgbClr val="00338D"/>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1" name="Rectangle: Rounded Corners 114">
            <a:extLst>
              <a:ext uri="{FF2B5EF4-FFF2-40B4-BE49-F238E27FC236}">
                <a16:creationId xmlns:a16="http://schemas.microsoft.com/office/drawing/2014/main" id="{DA375D5A-EEEE-6309-A36F-9E3C78787F83}"/>
              </a:ext>
            </a:extLst>
          </p:cNvPr>
          <p:cNvSpPr/>
          <p:nvPr/>
        </p:nvSpPr>
        <p:spPr>
          <a:xfrm>
            <a:off x="1000222" y="3506940"/>
            <a:ext cx="10006461" cy="680400"/>
          </a:xfrm>
          <a:prstGeom prst="roundRect">
            <a:avLst>
              <a:gd name="adj" fmla="val 6154"/>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32" name="Rectangle: Rounded Corners 115">
            <a:extLst>
              <a:ext uri="{FF2B5EF4-FFF2-40B4-BE49-F238E27FC236}">
                <a16:creationId xmlns:a16="http://schemas.microsoft.com/office/drawing/2014/main" id="{6767922B-3787-C8E9-D057-F306CCF57600}"/>
              </a:ext>
            </a:extLst>
          </p:cNvPr>
          <p:cNvSpPr/>
          <p:nvPr/>
        </p:nvSpPr>
        <p:spPr>
          <a:xfrm>
            <a:off x="1000222" y="4358532"/>
            <a:ext cx="10006461" cy="680400"/>
          </a:xfrm>
          <a:prstGeom prst="roundRect">
            <a:avLst>
              <a:gd name="adj" fmla="val 4542"/>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33" name="CasellaDiTesto 32">
            <a:extLst>
              <a:ext uri="{FF2B5EF4-FFF2-40B4-BE49-F238E27FC236}">
                <a16:creationId xmlns:a16="http://schemas.microsoft.com/office/drawing/2014/main" id="{99C3B26B-0011-6CEC-6809-AF0CC1A40591}"/>
              </a:ext>
            </a:extLst>
          </p:cNvPr>
          <p:cNvSpPr txBox="1"/>
          <p:nvPr/>
        </p:nvSpPr>
        <p:spPr>
          <a:xfrm>
            <a:off x="1467609" y="3625766"/>
            <a:ext cx="9467187" cy="425479"/>
          </a:xfrm>
          <a:prstGeom prst="rect">
            <a:avLst/>
          </a:prstGeom>
          <a:noFill/>
        </p:spPr>
        <p:txBody>
          <a:bodyPr wrap="square" lIns="36000" tIns="54610" rIns="54610" bIns="5461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strike="noStrike" kern="1200" cap="none" spc="0" normalizeH="0" baseline="0" noProof="0" dirty="0">
                <a:ln>
                  <a:noFill/>
                </a:ln>
                <a:solidFill>
                  <a:srgbClr val="00338D"/>
                </a:solidFill>
                <a:effectLst/>
                <a:uLnTx/>
                <a:uFillTx/>
                <a:ea typeface="+mn-ea"/>
                <a:cs typeface="+mn-cs"/>
              </a:rPr>
              <a:t>Permette al modello di cogliere il contesto pi</a:t>
            </a:r>
            <a:r>
              <a:rPr lang="it-IT" sz="1400" b="1" dirty="0" err="1">
                <a:solidFill>
                  <a:srgbClr val="00338D"/>
                </a:solidFill>
              </a:rPr>
              <a:t>ù</a:t>
            </a:r>
            <a:r>
              <a:rPr lang="it-IT" sz="1400" b="1" dirty="0">
                <a:solidFill>
                  <a:srgbClr val="00338D"/>
                </a:solidFill>
              </a:rPr>
              <a:t> ampio attraverso l’integrazione di informazioni multimodali</a:t>
            </a:r>
            <a:endParaRPr kumimoji="0" lang="it-IT" sz="1400" b="1" i="0" strike="noStrike" kern="1200" cap="none" spc="0" normalizeH="0" baseline="0" noProof="0" dirty="0">
              <a:ln>
                <a:noFill/>
              </a:ln>
              <a:solidFill>
                <a:srgbClr val="00338D"/>
              </a:solidFill>
              <a:effectLst/>
              <a:uLnTx/>
              <a:uFillTx/>
              <a:ea typeface="+mn-ea"/>
              <a:cs typeface="+mn-cs"/>
            </a:endParaRPr>
          </a:p>
        </p:txBody>
      </p:sp>
      <p:sp>
        <p:nvSpPr>
          <p:cNvPr id="34" name="CasellaDiTesto 22">
            <a:extLst>
              <a:ext uri="{FF2B5EF4-FFF2-40B4-BE49-F238E27FC236}">
                <a16:creationId xmlns:a16="http://schemas.microsoft.com/office/drawing/2014/main" id="{70C5247E-C46F-FE40-FB09-9DF600CE64A8}"/>
              </a:ext>
            </a:extLst>
          </p:cNvPr>
          <p:cNvSpPr txBox="1"/>
          <p:nvPr/>
        </p:nvSpPr>
        <p:spPr>
          <a:xfrm>
            <a:off x="1467609" y="4446392"/>
            <a:ext cx="9467187" cy="509447"/>
          </a:xfrm>
          <a:prstGeom prst="rect">
            <a:avLst/>
          </a:prstGeom>
          <a:noFill/>
        </p:spPr>
        <p:txBody>
          <a:bodyPr wrap="square" lIns="36000" tIns="54610" rIns="54610" bIns="5461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strike="noStrike" kern="1200" cap="none" spc="0" normalizeH="0" baseline="0" noProof="0" dirty="0">
                <a:ln>
                  <a:noFill/>
                </a:ln>
                <a:solidFill>
                  <a:srgbClr val="00338D"/>
                </a:solidFill>
                <a:effectLst/>
                <a:uLnTx/>
                <a:uFillTx/>
                <a:ea typeface="+mn-ea"/>
                <a:cs typeface="+mn-cs"/>
              </a:rPr>
              <a:t>L'uso di dati multimodali aiuta a mitigare il rumore presente nel testo. </a:t>
            </a:r>
          </a:p>
        </p:txBody>
      </p:sp>
      <p:sp>
        <p:nvSpPr>
          <p:cNvPr id="39" name="Rectangle 33">
            <a:extLst>
              <a:ext uri="{FF2B5EF4-FFF2-40B4-BE49-F238E27FC236}">
                <a16:creationId xmlns:a16="http://schemas.microsoft.com/office/drawing/2014/main" id="{8B7285A8-CD54-414D-E065-93861F8A69E6}"/>
              </a:ext>
            </a:extLst>
          </p:cNvPr>
          <p:cNvSpPr/>
          <p:nvPr/>
        </p:nvSpPr>
        <p:spPr>
          <a:xfrm>
            <a:off x="4660727" y="3154100"/>
            <a:ext cx="2504454" cy="2386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kern="0" dirty="0">
                <a:solidFill>
                  <a:srgbClr val="00396F"/>
                </a:solidFill>
                <a:cs typeface="Arial" panose="020B0604020202020204" pitchFamily="34" charset="0"/>
              </a:rPr>
              <a:t>SOLUTIONS</a:t>
            </a:r>
            <a:endParaRPr kumimoji="0" lang="it-IT" sz="1400" b="0" i="0" u="none" strike="noStrike" kern="1200" cap="none" spc="0" normalizeH="0" baseline="0" noProof="0" dirty="0">
              <a:ln>
                <a:noFill/>
              </a:ln>
              <a:solidFill>
                <a:srgbClr val="00396F"/>
              </a:solidFill>
              <a:effectLst/>
              <a:uLnTx/>
              <a:uFillTx/>
              <a:cs typeface="Arial" panose="020B0604020202020204" pitchFamily="34" charset="0"/>
            </a:endParaRPr>
          </a:p>
        </p:txBody>
      </p:sp>
      <p:sp>
        <p:nvSpPr>
          <p:cNvPr id="40" name="Rectangle: Rounded Corners 115">
            <a:extLst>
              <a:ext uri="{FF2B5EF4-FFF2-40B4-BE49-F238E27FC236}">
                <a16:creationId xmlns:a16="http://schemas.microsoft.com/office/drawing/2014/main" id="{0EA08890-6F8E-38C6-FAB5-5EBAA3BE786C}"/>
              </a:ext>
            </a:extLst>
          </p:cNvPr>
          <p:cNvSpPr/>
          <p:nvPr/>
        </p:nvSpPr>
        <p:spPr>
          <a:xfrm>
            <a:off x="1000222" y="5183136"/>
            <a:ext cx="10006461" cy="680400"/>
          </a:xfrm>
          <a:prstGeom prst="roundRect">
            <a:avLst>
              <a:gd name="adj" fmla="val 4542"/>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41" name="CasellaDiTesto 22">
            <a:extLst>
              <a:ext uri="{FF2B5EF4-FFF2-40B4-BE49-F238E27FC236}">
                <a16:creationId xmlns:a16="http://schemas.microsoft.com/office/drawing/2014/main" id="{6EEDC998-BA49-D2A0-4757-832CEC4005E2}"/>
              </a:ext>
            </a:extLst>
          </p:cNvPr>
          <p:cNvSpPr txBox="1"/>
          <p:nvPr/>
        </p:nvSpPr>
        <p:spPr>
          <a:xfrm>
            <a:off x="1467609" y="5306343"/>
            <a:ext cx="9467187" cy="619251"/>
          </a:xfrm>
          <a:prstGeom prst="rect">
            <a:avLst/>
          </a:prstGeom>
          <a:noFill/>
        </p:spPr>
        <p:txBody>
          <a:bodyPr wrap="square" lIns="36000" tIns="54610" rIns="54610" bIns="54610"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400" b="1" dirty="0" err="1">
                <a:solidFill>
                  <a:srgbClr val="00338D"/>
                </a:solidFill>
              </a:rPr>
              <a:t>P</a:t>
            </a:r>
            <a:r>
              <a:rPr kumimoji="0" lang="it-IT" sz="1400" b="1" i="0" strike="noStrike" kern="1200" cap="none" spc="0" normalizeH="0" baseline="0" noProof="0" dirty="0" err="1">
                <a:ln>
                  <a:noFill/>
                </a:ln>
                <a:solidFill>
                  <a:srgbClr val="00338D"/>
                </a:solidFill>
                <a:effectLst/>
                <a:uLnTx/>
                <a:uFillTx/>
                <a:ea typeface="+mn-ea"/>
                <a:cs typeface="+mn-cs"/>
              </a:rPr>
              <a:t>ermette</a:t>
            </a:r>
            <a:r>
              <a:rPr kumimoji="0" lang="it-IT" sz="1400" b="1" i="0" strike="noStrike" kern="1200" cap="none" spc="0" normalizeH="0" baseline="0" noProof="0" dirty="0">
                <a:ln>
                  <a:noFill/>
                </a:ln>
                <a:solidFill>
                  <a:srgbClr val="00338D"/>
                </a:solidFill>
                <a:effectLst/>
                <a:uLnTx/>
                <a:uFillTx/>
                <a:ea typeface="+mn-ea"/>
                <a:cs typeface="+mn-cs"/>
              </a:rPr>
              <a:t> un'analisi più dettagliata e fine rispetto ai metodi tradizionali, che tendono a trattare il documento nel suo complesso</a:t>
            </a:r>
          </a:p>
        </p:txBody>
      </p:sp>
      <p:pic>
        <p:nvPicPr>
          <p:cNvPr id="44" name="Immagine 43" descr="Immagine che contiene schermata, Elementi grafici, clipart, grafica&#10;&#10;Descrizione generata automaticamente">
            <a:extLst>
              <a:ext uri="{FF2B5EF4-FFF2-40B4-BE49-F238E27FC236}">
                <a16:creationId xmlns:a16="http://schemas.microsoft.com/office/drawing/2014/main" id="{D6A370F5-5397-EFCA-477E-D6F08649CD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5606" y="3467445"/>
            <a:ext cx="801598" cy="801598"/>
          </a:xfrm>
          <a:prstGeom prst="rect">
            <a:avLst/>
          </a:prstGeom>
        </p:spPr>
      </p:pic>
      <p:pic>
        <p:nvPicPr>
          <p:cNvPr id="45" name="Immagine 44" descr="Immagine che contiene schermata, Elementi grafici, cerchio, clipart&#10;&#10;Descrizione generata automaticamente">
            <a:extLst>
              <a:ext uri="{FF2B5EF4-FFF2-40B4-BE49-F238E27FC236}">
                <a16:creationId xmlns:a16="http://schemas.microsoft.com/office/drawing/2014/main" id="{2BE3E692-9F0B-1445-2EF5-078E534DD26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1390" y="4275287"/>
            <a:ext cx="801598" cy="801598"/>
          </a:xfrm>
          <a:prstGeom prst="rect">
            <a:avLst/>
          </a:prstGeom>
        </p:spPr>
      </p:pic>
      <p:pic>
        <p:nvPicPr>
          <p:cNvPr id="46" name="Immagine 45" descr="Immagine che contiene schermata, Elementi grafici, simbolo, clipart&#10;&#10;Descrizione generata automaticamente">
            <a:extLst>
              <a:ext uri="{FF2B5EF4-FFF2-40B4-BE49-F238E27FC236}">
                <a16:creationId xmlns:a16="http://schemas.microsoft.com/office/drawing/2014/main" id="{A5465CC0-D048-B237-57F2-E6A8A49D1C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2000" y="5189889"/>
            <a:ext cx="648000" cy="648000"/>
          </a:xfrm>
          <a:prstGeom prst="rect">
            <a:avLst/>
          </a:prstGeom>
        </p:spPr>
      </p:pic>
    </p:spTree>
    <p:extLst>
      <p:ext uri="{BB962C8B-B14F-4D97-AF65-F5344CB8AC3E}">
        <p14:creationId xmlns:p14="http://schemas.microsoft.com/office/powerpoint/2010/main" val="1755712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DD83F-AD22-2E6D-DB44-65CEFC7F37BB}"/>
            </a:ext>
          </a:extLst>
        </p:cNvPr>
        <p:cNvGrpSpPr/>
        <p:nvPr/>
      </p:nvGrpSpPr>
      <p:grpSpPr>
        <a:xfrm>
          <a:off x="0" y="0"/>
          <a:ext cx="0" cy="0"/>
          <a:chOff x="0" y="0"/>
          <a:chExt cx="0" cy="0"/>
        </a:xfrm>
      </p:grpSpPr>
      <p:sp>
        <p:nvSpPr>
          <p:cNvPr id="23" name="Trapezoid 119">
            <a:extLst>
              <a:ext uri="{FF2B5EF4-FFF2-40B4-BE49-F238E27FC236}">
                <a16:creationId xmlns:a16="http://schemas.microsoft.com/office/drawing/2014/main" id="{6C46C842-1958-9EB1-B90E-6A5E1BCEAC20}"/>
              </a:ext>
            </a:extLst>
          </p:cNvPr>
          <p:cNvSpPr/>
          <p:nvPr/>
        </p:nvSpPr>
        <p:spPr>
          <a:xfrm rot="16200000" flipH="1">
            <a:off x="4031633" y="3147578"/>
            <a:ext cx="4764139" cy="807592"/>
          </a:xfrm>
          <a:prstGeom prst="trapezoid">
            <a:avLst>
              <a:gd name="adj" fmla="val 436046"/>
            </a:avLst>
          </a:prstGeom>
          <a:gradFill flip="none" rotWithShape="1">
            <a:gsLst>
              <a:gs pos="0">
                <a:schemeClr val="bg1"/>
              </a:gs>
              <a:gs pos="100000">
                <a:schemeClr val="accent1">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err="1">
              <a:solidFill>
                <a:schemeClr val="bg1"/>
              </a:solidFill>
            </a:endParaRPr>
          </a:p>
        </p:txBody>
      </p:sp>
      <p:sp>
        <p:nvSpPr>
          <p:cNvPr id="10" name="Rectangle: Rounded Corners 72">
            <a:extLst>
              <a:ext uri="{FF2B5EF4-FFF2-40B4-BE49-F238E27FC236}">
                <a16:creationId xmlns:a16="http://schemas.microsoft.com/office/drawing/2014/main" id="{E3AE9EC2-36B1-70D4-5D1F-A26B308024B4}"/>
              </a:ext>
            </a:extLst>
          </p:cNvPr>
          <p:cNvSpPr/>
          <p:nvPr/>
        </p:nvSpPr>
        <p:spPr>
          <a:xfrm>
            <a:off x="6817498" y="1038185"/>
            <a:ext cx="5090022" cy="5062895"/>
          </a:xfrm>
          <a:prstGeom prst="roundRect">
            <a:avLst>
              <a:gd name="adj" fmla="val 3683"/>
            </a:avLst>
          </a:prstGeom>
          <a:solidFill>
            <a:schemeClr val="bg1"/>
          </a:solidFill>
          <a:ln w="19050">
            <a:solidFill>
              <a:srgbClr val="00338D"/>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graphicFrame>
        <p:nvGraphicFramePr>
          <p:cNvPr id="2" name="Object 1" hidden="1">
            <a:extLst>
              <a:ext uri="{FF2B5EF4-FFF2-40B4-BE49-F238E27FC236}">
                <a16:creationId xmlns:a16="http://schemas.microsoft.com/office/drawing/2014/main" id="{967F75FC-CE97-CFD4-41BB-AE734E0C43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967F75FC-CE97-CFD4-41BB-AE734E0C43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9BEB2F7-A747-F66C-6350-1132C024FD1E}"/>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BA5D3927-7762-8FE2-0993-5D245DEFC704}"/>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5</a:t>
            </a:fld>
            <a:endParaRPr lang="en-GB" dirty="0">
              <a:solidFill>
                <a:srgbClr val="00396F"/>
              </a:solidFill>
              <a:latin typeface="Abadi" panose="020B0604020104020204" pitchFamily="34" charset="0"/>
            </a:endParaRPr>
          </a:p>
        </p:txBody>
      </p:sp>
      <p:pic>
        <p:nvPicPr>
          <p:cNvPr id="1025" name="Picture 1" descr="page38image520176">
            <a:extLst>
              <a:ext uri="{FF2B5EF4-FFF2-40B4-BE49-F238E27FC236}">
                <a16:creationId xmlns:a16="http://schemas.microsoft.com/office/drawing/2014/main" id="{80D19E85-211E-EFFB-1C15-79FB0D3A09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49342" y="1090270"/>
            <a:ext cx="4626335" cy="495872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2A48D264-7238-1D54-BB24-CFFE63E08B55}"/>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a:defRPr/>
            </a:pPr>
            <a:r>
              <a:rPr lang="en-US" sz="3200" dirty="0">
                <a:solidFill>
                  <a:srgbClr val="00396F"/>
                </a:solidFill>
              </a:rPr>
              <a:t>Architecture of the Dual Encoder Model</a:t>
            </a:r>
            <a:endParaRPr lang="it-IT" sz="3200" dirty="0">
              <a:solidFill>
                <a:srgbClr val="00396F"/>
              </a:solidFil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it-IT" sz="3200" dirty="0">
              <a:solidFill>
                <a:srgbClr val="00396F"/>
              </a:solidFill>
            </a:endParaRPr>
          </a:p>
        </p:txBody>
      </p:sp>
      <p:grpSp>
        <p:nvGrpSpPr>
          <p:cNvPr id="22" name="Gruppo 21">
            <a:extLst>
              <a:ext uri="{FF2B5EF4-FFF2-40B4-BE49-F238E27FC236}">
                <a16:creationId xmlns:a16="http://schemas.microsoft.com/office/drawing/2014/main" id="{9D27951A-8B37-7D93-C44A-CC2F6E2522F8}"/>
              </a:ext>
            </a:extLst>
          </p:cNvPr>
          <p:cNvGrpSpPr/>
          <p:nvPr/>
        </p:nvGrpSpPr>
        <p:grpSpPr>
          <a:xfrm>
            <a:off x="870856" y="1486265"/>
            <a:ext cx="5225144" cy="3757146"/>
            <a:chOff x="992776" y="961781"/>
            <a:chExt cx="5225144" cy="3757146"/>
          </a:xfrm>
        </p:grpSpPr>
        <p:grpSp>
          <p:nvGrpSpPr>
            <p:cNvPr id="19" name="Gruppo 18">
              <a:extLst>
                <a:ext uri="{FF2B5EF4-FFF2-40B4-BE49-F238E27FC236}">
                  <a16:creationId xmlns:a16="http://schemas.microsoft.com/office/drawing/2014/main" id="{764CA7CB-FD87-49C4-E89D-6D449CCC2401}"/>
                </a:ext>
              </a:extLst>
            </p:cNvPr>
            <p:cNvGrpSpPr/>
            <p:nvPr/>
          </p:nvGrpSpPr>
          <p:grpSpPr>
            <a:xfrm>
              <a:off x="992776" y="961781"/>
              <a:ext cx="5225144" cy="3543974"/>
              <a:chOff x="977215" y="1732411"/>
              <a:chExt cx="5225144" cy="3543974"/>
            </a:xfrm>
          </p:grpSpPr>
          <p:sp>
            <p:nvSpPr>
              <p:cNvPr id="20" name="Rectangle 64">
                <a:extLst>
                  <a:ext uri="{FF2B5EF4-FFF2-40B4-BE49-F238E27FC236}">
                    <a16:creationId xmlns:a16="http://schemas.microsoft.com/office/drawing/2014/main" id="{34820B93-C8CA-D34B-FC2E-3EF4D82DED55}"/>
                  </a:ext>
                </a:extLst>
              </p:cNvPr>
              <p:cNvSpPr/>
              <p:nvPr/>
            </p:nvSpPr>
            <p:spPr>
              <a:xfrm>
                <a:off x="977215" y="1975472"/>
                <a:ext cx="5225144" cy="3300913"/>
              </a:xfrm>
              <a:prstGeom prst="roundRect">
                <a:avLst/>
              </a:prstGeom>
              <a:solidFill>
                <a:srgbClr val="E7ECFF"/>
              </a:solidFill>
              <a:ln w="6350">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kumimoji="0" lang="it-IT" sz="15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21" name="Rettangolo con angoli arrotondati 20">
                <a:extLst>
                  <a:ext uri="{FF2B5EF4-FFF2-40B4-BE49-F238E27FC236}">
                    <a16:creationId xmlns:a16="http://schemas.microsoft.com/office/drawing/2014/main" id="{80BD8C5A-CD03-F2CE-1AEE-2C880480326C}"/>
                  </a:ext>
                </a:extLst>
              </p:cNvPr>
              <p:cNvSpPr/>
              <p:nvPr/>
            </p:nvSpPr>
            <p:spPr>
              <a:xfrm>
                <a:off x="1900337" y="1732411"/>
                <a:ext cx="3369365" cy="329922"/>
              </a:xfrm>
              <a:prstGeom prst="roundRect">
                <a:avLst/>
              </a:prstGeom>
              <a:solidFill>
                <a:srgbClr val="1B408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it-IT" sz="1600" b="1" dirty="0">
                    <a:solidFill>
                      <a:schemeClr val="bg1"/>
                    </a:solidFill>
                    <a:ea typeface="Verdana" panose="020B0604030504040204" pitchFamily="34" charset="0"/>
                  </a:rPr>
                  <a:t>Componenti principali</a:t>
                </a:r>
                <a:endParaRPr kumimoji="0" lang="it-IT" sz="1600" b="1" i="0" u="none" strike="noStrike" kern="1200" cap="none" spc="0" normalizeH="0" baseline="0" noProof="0" dirty="0">
                  <a:ln>
                    <a:noFill/>
                  </a:ln>
                  <a:solidFill>
                    <a:schemeClr val="bg1"/>
                  </a:solidFill>
                  <a:effectLst/>
                  <a:uLnTx/>
                  <a:uFillTx/>
                  <a:ea typeface="Verdana" panose="020B0604030504040204" pitchFamily="34" charset="0"/>
                </a:endParaRPr>
              </a:p>
            </p:txBody>
          </p:sp>
        </p:grpSp>
        <p:sp>
          <p:nvSpPr>
            <p:cNvPr id="18" name="CasellaDiTesto 17">
              <a:extLst>
                <a:ext uri="{FF2B5EF4-FFF2-40B4-BE49-F238E27FC236}">
                  <a16:creationId xmlns:a16="http://schemas.microsoft.com/office/drawing/2014/main" id="{FFC52E45-0B47-86B7-E3B2-602BA1D6488F}"/>
                </a:ext>
              </a:extLst>
            </p:cNvPr>
            <p:cNvSpPr txBox="1"/>
            <p:nvPr/>
          </p:nvSpPr>
          <p:spPr>
            <a:xfrm>
              <a:off x="1200337" y="1579606"/>
              <a:ext cx="4810022" cy="3139321"/>
            </a:xfrm>
            <a:prstGeom prst="rect">
              <a:avLst/>
            </a:prstGeom>
            <a:noFill/>
          </p:spPr>
          <p:txBody>
            <a:bodyPr wrap="square">
              <a:spAutoFit/>
            </a:bodyPr>
            <a:lstStyle/>
            <a:p>
              <a:pPr>
                <a:buFont typeface="Arial" panose="020B0604020202020204" pitchFamily="34" charset="0"/>
                <a:buChar char="•"/>
              </a:pPr>
              <a:r>
                <a:rPr lang="it-IT" sz="1800" dirty="0">
                  <a:solidFill>
                    <a:srgbClr val="00396F"/>
                  </a:solidFill>
                </a:rPr>
                <a:t>Encoder per il testo </a:t>
              </a:r>
              <a:r>
                <a:rPr lang="it-IT" sz="1800" b="1" dirty="0" err="1">
                  <a:solidFill>
                    <a:srgbClr val="00396F"/>
                  </a:solidFill>
                </a:rPr>
                <a:t>RoBERTa</a:t>
              </a:r>
              <a:r>
                <a:rPr lang="it-IT" sz="1800" b="1" dirty="0">
                  <a:solidFill>
                    <a:srgbClr val="00396F"/>
                  </a:solidFill>
                </a:rPr>
                <a:t> </a:t>
              </a:r>
              <a:r>
                <a:rPr lang="it-IT" sz="1800" dirty="0">
                  <a:solidFill>
                    <a:srgbClr val="00396F"/>
                  </a:solidFill>
                </a:rPr>
                <a:t>: suddivide il testo in token e li converte in rappresentazioni vettoriali </a:t>
              </a:r>
              <a:r>
                <a:rPr lang="it-IT" dirty="0"/>
                <a:t>catturando le informazioni semantiche e sintattiche.</a:t>
              </a:r>
            </a:p>
            <a:p>
              <a:endParaRPr lang="it-IT" sz="1800" dirty="0">
                <a:solidFill>
                  <a:srgbClr val="00396F"/>
                </a:solidFill>
              </a:endParaRPr>
            </a:p>
            <a:p>
              <a:pPr>
                <a:buFont typeface="Arial" panose="020B0604020202020204" pitchFamily="34" charset="0"/>
                <a:buChar char="•"/>
              </a:pPr>
              <a:r>
                <a:rPr lang="it-IT" dirty="0"/>
                <a:t>Encoder per le Immagini (Vision Transformer - </a:t>
              </a:r>
              <a:r>
                <a:rPr lang="it-IT" dirty="0" err="1"/>
                <a:t>ViT</a:t>
              </a:r>
              <a:r>
                <a:rPr lang="it-IT" dirty="0"/>
                <a:t>)</a:t>
              </a:r>
              <a:r>
                <a:rPr lang="it-IT" sz="1800" dirty="0">
                  <a:solidFill>
                    <a:srgbClr val="00396F"/>
                  </a:solidFill>
                </a:rPr>
                <a:t>: Le immagini vengono suddivise patches, e ciascuna patch viene trasformata in un vettore.</a:t>
              </a:r>
              <a:r>
                <a:rPr lang="it-IT" dirty="0"/>
                <a:t> </a:t>
              </a:r>
              <a:r>
                <a:rPr lang="it-IT"/>
                <a:t>catturando </a:t>
              </a:r>
              <a:r>
                <a:rPr lang="it-IT" dirty="0"/>
                <a:t>informazioni visive rilevanti e dettagli importanti dell'immagine.</a:t>
              </a:r>
            </a:p>
            <a:p>
              <a:pPr>
                <a:buFont typeface="Arial" panose="020B0604020202020204" pitchFamily="34" charset="0"/>
                <a:buChar char="•"/>
              </a:pPr>
              <a:endParaRPr lang="it-IT" sz="1800" dirty="0">
                <a:solidFill>
                  <a:srgbClr val="00396F"/>
                </a:solidFill>
              </a:endParaRPr>
            </a:p>
          </p:txBody>
        </p:sp>
      </p:grpSp>
    </p:spTree>
    <p:extLst>
      <p:ext uri="{BB962C8B-B14F-4D97-AF65-F5344CB8AC3E}">
        <p14:creationId xmlns:p14="http://schemas.microsoft.com/office/powerpoint/2010/main" val="1935209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DD83F-AD22-2E6D-DB44-65CEFC7F37BB}"/>
            </a:ext>
          </a:extLst>
        </p:cNvPr>
        <p:cNvGrpSpPr/>
        <p:nvPr/>
      </p:nvGrpSpPr>
      <p:grpSpPr>
        <a:xfrm>
          <a:off x="0" y="0"/>
          <a:ext cx="0" cy="0"/>
          <a:chOff x="0" y="0"/>
          <a:chExt cx="0" cy="0"/>
        </a:xfrm>
      </p:grpSpPr>
      <p:sp>
        <p:nvSpPr>
          <p:cNvPr id="23" name="Trapezoid 119">
            <a:extLst>
              <a:ext uri="{FF2B5EF4-FFF2-40B4-BE49-F238E27FC236}">
                <a16:creationId xmlns:a16="http://schemas.microsoft.com/office/drawing/2014/main" id="{6C46C842-1958-9EB1-B90E-6A5E1BCEAC20}"/>
              </a:ext>
            </a:extLst>
          </p:cNvPr>
          <p:cNvSpPr/>
          <p:nvPr/>
        </p:nvSpPr>
        <p:spPr>
          <a:xfrm rot="16200000" flipH="1">
            <a:off x="4741156" y="3389876"/>
            <a:ext cx="3345093" cy="807592"/>
          </a:xfrm>
          <a:prstGeom prst="trapezoid">
            <a:avLst>
              <a:gd name="adj" fmla="val 436046"/>
            </a:avLst>
          </a:prstGeom>
          <a:gradFill flip="none" rotWithShape="1">
            <a:gsLst>
              <a:gs pos="0">
                <a:schemeClr val="bg1"/>
              </a:gs>
              <a:gs pos="100000">
                <a:schemeClr val="accent1">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err="1">
              <a:solidFill>
                <a:schemeClr val="bg1"/>
              </a:solidFill>
            </a:endParaRPr>
          </a:p>
        </p:txBody>
      </p:sp>
      <p:graphicFrame>
        <p:nvGraphicFramePr>
          <p:cNvPr id="2" name="Object 1" hidden="1">
            <a:extLst>
              <a:ext uri="{FF2B5EF4-FFF2-40B4-BE49-F238E27FC236}">
                <a16:creationId xmlns:a16="http://schemas.microsoft.com/office/drawing/2014/main" id="{967F75FC-CE97-CFD4-41BB-AE734E0C43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967F75FC-CE97-CFD4-41BB-AE734E0C43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79BEB2F7-A747-F66C-6350-1132C024FD1E}"/>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BA5D3927-7762-8FE2-0993-5D245DEFC704}"/>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6</a:t>
            </a:fld>
            <a:endParaRPr lang="en-GB" dirty="0">
              <a:solidFill>
                <a:srgbClr val="00396F"/>
              </a:solidFill>
              <a:latin typeface="Abadi" panose="020B0604020104020204" pitchFamily="34" charset="0"/>
            </a:endParaRPr>
          </a:p>
        </p:txBody>
      </p:sp>
      <p:sp>
        <p:nvSpPr>
          <p:cNvPr id="4" name="Title 2">
            <a:extLst>
              <a:ext uri="{FF2B5EF4-FFF2-40B4-BE49-F238E27FC236}">
                <a16:creationId xmlns:a16="http://schemas.microsoft.com/office/drawing/2014/main" id="{2A48D264-7238-1D54-BB24-CFFE63E08B55}"/>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a:defRPr/>
            </a:pPr>
            <a:r>
              <a:rPr lang="en-US" sz="3200" dirty="0">
                <a:solidFill>
                  <a:srgbClr val="00396F"/>
                </a:solidFill>
              </a:rPr>
              <a:t>Cross-Modal Alignment Mechanism</a:t>
            </a:r>
            <a:endParaRPr lang="it-IT" sz="3200" dirty="0">
              <a:solidFill>
                <a:srgbClr val="00396F"/>
              </a:solidFill>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it-IT" sz="3200" dirty="0">
              <a:solidFill>
                <a:srgbClr val="00396F"/>
              </a:solidFill>
            </a:endParaRPr>
          </a:p>
        </p:txBody>
      </p:sp>
      <p:grpSp>
        <p:nvGrpSpPr>
          <p:cNvPr id="22" name="Gruppo 21">
            <a:extLst>
              <a:ext uri="{FF2B5EF4-FFF2-40B4-BE49-F238E27FC236}">
                <a16:creationId xmlns:a16="http://schemas.microsoft.com/office/drawing/2014/main" id="{9D27951A-8B37-7D93-C44A-CC2F6E2522F8}"/>
              </a:ext>
            </a:extLst>
          </p:cNvPr>
          <p:cNvGrpSpPr/>
          <p:nvPr/>
        </p:nvGrpSpPr>
        <p:grpSpPr>
          <a:xfrm>
            <a:off x="870856" y="1486265"/>
            <a:ext cx="5225144" cy="4614815"/>
            <a:chOff x="992776" y="961781"/>
            <a:chExt cx="5225144" cy="4614815"/>
          </a:xfrm>
        </p:grpSpPr>
        <p:grpSp>
          <p:nvGrpSpPr>
            <p:cNvPr id="19" name="Gruppo 18">
              <a:extLst>
                <a:ext uri="{FF2B5EF4-FFF2-40B4-BE49-F238E27FC236}">
                  <a16:creationId xmlns:a16="http://schemas.microsoft.com/office/drawing/2014/main" id="{764CA7CB-FD87-49C4-E89D-6D449CCC2401}"/>
                </a:ext>
              </a:extLst>
            </p:cNvPr>
            <p:cNvGrpSpPr/>
            <p:nvPr/>
          </p:nvGrpSpPr>
          <p:grpSpPr>
            <a:xfrm>
              <a:off x="992776" y="961781"/>
              <a:ext cx="5225144" cy="4614815"/>
              <a:chOff x="977215" y="1732411"/>
              <a:chExt cx="5225144" cy="4614815"/>
            </a:xfrm>
          </p:grpSpPr>
          <p:sp>
            <p:nvSpPr>
              <p:cNvPr id="20" name="Rectangle 64">
                <a:extLst>
                  <a:ext uri="{FF2B5EF4-FFF2-40B4-BE49-F238E27FC236}">
                    <a16:creationId xmlns:a16="http://schemas.microsoft.com/office/drawing/2014/main" id="{34820B93-C8CA-D34B-FC2E-3EF4D82DED55}"/>
                  </a:ext>
                </a:extLst>
              </p:cNvPr>
              <p:cNvSpPr/>
              <p:nvPr/>
            </p:nvSpPr>
            <p:spPr>
              <a:xfrm>
                <a:off x="977215" y="1975472"/>
                <a:ext cx="5225144" cy="4371754"/>
              </a:xfrm>
              <a:prstGeom prst="roundRect">
                <a:avLst/>
              </a:prstGeom>
              <a:solidFill>
                <a:srgbClr val="E7ECFF"/>
              </a:solidFill>
              <a:ln w="6350">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kumimoji="0" lang="it-IT" sz="1500" b="0" i="0" u="none" strike="noStrike" kern="1200" cap="none" spc="0" normalizeH="0" baseline="0" noProof="0" dirty="0">
                  <a:ln>
                    <a:noFill/>
                  </a:ln>
                  <a:solidFill>
                    <a:srgbClr val="FFFFFF"/>
                  </a:solidFill>
                  <a:effectLst/>
                  <a:uLnTx/>
                  <a:uFillTx/>
                  <a:ea typeface="Verdana" panose="020B0604030504040204" pitchFamily="34" charset="0"/>
                </a:endParaRPr>
              </a:p>
            </p:txBody>
          </p:sp>
          <p:sp>
            <p:nvSpPr>
              <p:cNvPr id="21" name="Rettangolo con angoli arrotondati 20">
                <a:extLst>
                  <a:ext uri="{FF2B5EF4-FFF2-40B4-BE49-F238E27FC236}">
                    <a16:creationId xmlns:a16="http://schemas.microsoft.com/office/drawing/2014/main" id="{80BD8C5A-CD03-F2CE-1AEE-2C880480326C}"/>
                  </a:ext>
                </a:extLst>
              </p:cNvPr>
              <p:cNvSpPr/>
              <p:nvPr/>
            </p:nvSpPr>
            <p:spPr>
              <a:xfrm>
                <a:off x="1900337" y="1732411"/>
                <a:ext cx="3369365" cy="329922"/>
              </a:xfrm>
              <a:prstGeom prst="roundRect">
                <a:avLst/>
              </a:prstGeom>
              <a:solidFill>
                <a:srgbClr val="1B408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it-IT" sz="1600" b="1" dirty="0">
                    <a:solidFill>
                      <a:schemeClr val="bg1"/>
                    </a:solidFill>
                    <a:ea typeface="Verdana" panose="020B0604030504040204" pitchFamily="34" charset="0"/>
                  </a:rPr>
                  <a:t>xxx</a:t>
                </a:r>
                <a:endParaRPr kumimoji="0" lang="it-IT" sz="1600" b="1" i="0" u="none" strike="noStrike" kern="1200" cap="none" spc="0" normalizeH="0" baseline="0" noProof="0" dirty="0">
                  <a:ln>
                    <a:noFill/>
                  </a:ln>
                  <a:solidFill>
                    <a:schemeClr val="bg1"/>
                  </a:solidFill>
                  <a:effectLst/>
                  <a:uLnTx/>
                  <a:uFillTx/>
                  <a:ea typeface="Verdana" panose="020B0604030504040204" pitchFamily="34" charset="0"/>
                </a:endParaRPr>
              </a:p>
            </p:txBody>
          </p:sp>
        </p:grpSp>
        <p:sp>
          <p:nvSpPr>
            <p:cNvPr id="18" name="CasellaDiTesto 17">
              <a:extLst>
                <a:ext uri="{FF2B5EF4-FFF2-40B4-BE49-F238E27FC236}">
                  <a16:creationId xmlns:a16="http://schemas.microsoft.com/office/drawing/2014/main" id="{FFC52E45-0B47-86B7-E3B2-602BA1D6488F}"/>
                </a:ext>
              </a:extLst>
            </p:cNvPr>
            <p:cNvSpPr txBox="1"/>
            <p:nvPr/>
          </p:nvSpPr>
          <p:spPr>
            <a:xfrm>
              <a:off x="1200337" y="1401806"/>
              <a:ext cx="4810022" cy="3970318"/>
            </a:xfrm>
            <a:prstGeom prst="rect">
              <a:avLst/>
            </a:prstGeom>
            <a:noFill/>
          </p:spPr>
          <p:txBody>
            <a:bodyPr wrap="square">
              <a:spAutoFit/>
            </a:bodyPr>
            <a:lstStyle/>
            <a:p>
              <a:r>
                <a:rPr lang="it-IT" sz="1800" dirty="0">
                  <a:solidFill>
                    <a:srgbClr val="00396F"/>
                  </a:solidFill>
                </a:rPr>
                <a:t>Il modello allinea testo e immagini tramite una tecnica chiamata </a:t>
              </a:r>
              <a:r>
                <a:rPr lang="it-IT" sz="1800" b="1" dirty="0">
                  <a:solidFill>
                    <a:srgbClr val="00396F"/>
                  </a:solidFill>
                </a:rPr>
                <a:t>Token-Patch Matching</a:t>
              </a:r>
              <a:r>
                <a:rPr lang="it-IT" sz="1800" dirty="0">
                  <a:solidFill>
                    <a:srgbClr val="00396F"/>
                  </a:solidFill>
                </a:rPr>
                <a:t>, che associa porzioni di testo con parti specifiche dell'immagine. L'allineamento è ottimizzato riducendo la </a:t>
              </a:r>
              <a:r>
                <a:rPr lang="it-IT" sz="1800" b="1" dirty="0">
                  <a:solidFill>
                    <a:srgbClr val="00396F"/>
                  </a:solidFill>
                </a:rPr>
                <a:t>distanza di </a:t>
              </a:r>
              <a:r>
                <a:rPr lang="it-IT" sz="1800" b="1" dirty="0" err="1">
                  <a:solidFill>
                    <a:srgbClr val="00396F"/>
                  </a:solidFill>
                </a:rPr>
                <a:t>Wasserstein</a:t>
              </a:r>
              <a:r>
                <a:rPr lang="it-IT" sz="1800" dirty="0">
                  <a:solidFill>
                    <a:srgbClr val="00396F"/>
                  </a:solidFill>
                </a:rPr>
                <a:t>, che misura la differenza tra le rappresentazioni testuali e visive. Dopo che le due modalità sono state elaborate separatamente, il modello può procedere a </a:t>
              </a:r>
              <a:r>
                <a:rPr lang="it-IT" sz="1800" b="1" dirty="0">
                  <a:solidFill>
                    <a:srgbClr val="00396F"/>
                  </a:solidFill>
                </a:rPr>
                <a:t>unire le informazioni</a:t>
              </a:r>
              <a:r>
                <a:rPr lang="it-IT" sz="1800" dirty="0">
                  <a:solidFill>
                    <a:srgbClr val="00396F"/>
                  </a:solidFill>
                </a:rPr>
                <a:t> in un secondo momento. Questo permette un </a:t>
              </a:r>
              <a:r>
                <a:rPr lang="it-IT" sz="1800" b="1" dirty="0">
                  <a:solidFill>
                    <a:srgbClr val="00396F"/>
                  </a:solidFill>
                </a:rPr>
                <a:t>allineamento più preciso</a:t>
              </a:r>
              <a:r>
                <a:rPr lang="it-IT" sz="1800" dirty="0">
                  <a:solidFill>
                    <a:srgbClr val="00396F"/>
                  </a:solidFill>
                </a:rPr>
                <a:t> tra testo e immagine, come nel caso della tecnica </a:t>
              </a:r>
              <a:r>
                <a:rPr lang="it-IT" sz="1800" b="1" dirty="0">
                  <a:solidFill>
                    <a:srgbClr val="00396F"/>
                  </a:solidFill>
                </a:rPr>
                <a:t>Token-Patch Matching</a:t>
              </a:r>
              <a:r>
                <a:rPr lang="it-IT" sz="1800" dirty="0">
                  <a:solidFill>
                    <a:srgbClr val="00396F"/>
                  </a:solidFill>
                </a:rPr>
                <a:t>, dove specifici concetti testuali vengono associati a porzioni rilevanti dell'immagine.</a:t>
              </a:r>
            </a:p>
          </p:txBody>
        </p:sp>
      </p:grpSp>
      <p:grpSp>
        <p:nvGrpSpPr>
          <p:cNvPr id="6" name="Gruppo 5">
            <a:extLst>
              <a:ext uri="{FF2B5EF4-FFF2-40B4-BE49-F238E27FC236}">
                <a16:creationId xmlns:a16="http://schemas.microsoft.com/office/drawing/2014/main" id="{F93C7373-9DB6-F8D0-AA6C-D1078D1EB420}"/>
              </a:ext>
            </a:extLst>
          </p:cNvPr>
          <p:cNvGrpSpPr/>
          <p:nvPr/>
        </p:nvGrpSpPr>
        <p:grpSpPr>
          <a:xfrm>
            <a:off x="6817498" y="2427152"/>
            <a:ext cx="5090022" cy="2733040"/>
            <a:chOff x="6817498" y="1950720"/>
            <a:chExt cx="5090022" cy="2733040"/>
          </a:xfrm>
        </p:grpSpPr>
        <p:sp>
          <p:nvSpPr>
            <p:cNvPr id="10" name="Rectangle: Rounded Corners 72">
              <a:extLst>
                <a:ext uri="{FF2B5EF4-FFF2-40B4-BE49-F238E27FC236}">
                  <a16:creationId xmlns:a16="http://schemas.microsoft.com/office/drawing/2014/main" id="{E3AE9EC2-36B1-70D4-5D1F-A26B308024B4}"/>
                </a:ext>
              </a:extLst>
            </p:cNvPr>
            <p:cNvSpPr/>
            <p:nvPr/>
          </p:nvSpPr>
          <p:spPr>
            <a:xfrm>
              <a:off x="6817498" y="1950720"/>
              <a:ext cx="5090022" cy="2733040"/>
            </a:xfrm>
            <a:prstGeom prst="roundRect">
              <a:avLst>
                <a:gd name="adj" fmla="val 3683"/>
              </a:avLst>
            </a:prstGeom>
            <a:solidFill>
              <a:schemeClr val="bg1"/>
            </a:solidFill>
            <a:ln w="19050">
              <a:solidFill>
                <a:srgbClr val="00338D"/>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pic>
          <p:nvPicPr>
            <p:cNvPr id="5" name="Picture 1" descr="page41image298448">
              <a:extLst>
                <a:ext uri="{FF2B5EF4-FFF2-40B4-BE49-F238E27FC236}">
                  <a16:creationId xmlns:a16="http://schemas.microsoft.com/office/drawing/2014/main" id="{ED63215E-42AA-0591-B2CC-3C21784DF5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17498" y="2039691"/>
              <a:ext cx="5090022" cy="25550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68517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EF388-2600-4D3F-D8CB-032D77A7155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926B19-B45F-2C04-4255-0D3487BFFD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C3926B19-B45F-2C04-4255-0D3487BFFD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A3FD802A-C3DB-D932-5891-759DB5A4995D}"/>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893BBF28-FA79-573F-7451-0FFD0E911813}"/>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7</a:t>
            </a:fld>
            <a:endParaRPr lang="en-GB" dirty="0">
              <a:solidFill>
                <a:srgbClr val="00396F"/>
              </a:solidFill>
              <a:latin typeface="Abadi" panose="020B0604020104020204" pitchFamily="34" charset="0"/>
            </a:endParaRPr>
          </a:p>
        </p:txBody>
      </p:sp>
      <p:sp>
        <p:nvSpPr>
          <p:cNvPr id="4" name="Title 2">
            <a:extLst>
              <a:ext uri="{FF2B5EF4-FFF2-40B4-BE49-F238E27FC236}">
                <a16:creationId xmlns:a16="http://schemas.microsoft.com/office/drawing/2014/main" id="{86167B0D-6B94-6038-B5F1-5B2BB27A81EB}"/>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00396F"/>
                </a:solidFill>
              </a:rPr>
              <a:t>Alignment Strategies</a:t>
            </a:r>
            <a:endParaRPr lang="it-IT" sz="3200" dirty="0">
              <a:solidFill>
                <a:srgbClr val="00396F"/>
              </a:solidFill>
            </a:endParaRPr>
          </a:p>
        </p:txBody>
      </p:sp>
      <p:sp>
        <p:nvSpPr>
          <p:cNvPr id="21" name="TextBox 26">
            <a:extLst>
              <a:ext uri="{FF2B5EF4-FFF2-40B4-BE49-F238E27FC236}">
                <a16:creationId xmlns:a16="http://schemas.microsoft.com/office/drawing/2014/main" id="{5A145217-A14D-4C78-7EA0-B4795F0CE92A}"/>
              </a:ext>
            </a:extLst>
          </p:cNvPr>
          <p:cNvSpPr txBox="1"/>
          <p:nvPr/>
        </p:nvSpPr>
        <p:spPr>
          <a:xfrm>
            <a:off x="2261795" y="1228733"/>
            <a:ext cx="7339405" cy="1037207"/>
          </a:xfrm>
          <a:prstGeom prst="rect">
            <a:avLst/>
          </a:prstGeom>
          <a:noFill/>
        </p:spPr>
        <p:txBody>
          <a:bodyPr wrap="square" lIns="0" tIns="0" rIns="0" bIns="0" rtlCol="0">
            <a:spAutoFit/>
          </a:bodyPr>
          <a:lstStyle/>
          <a:p>
            <a:pPr>
              <a:lnSpc>
                <a:spcPct val="110000"/>
              </a:lnSpc>
              <a:spcAft>
                <a:spcPts val="300"/>
              </a:spcAft>
              <a:defRPr/>
            </a:pPr>
            <a:r>
              <a:rPr lang="en-GB" sz="2000" b="1" dirty="0" err="1">
                <a:solidFill>
                  <a:srgbClr val="003294"/>
                </a:solidFill>
              </a:rPr>
              <a:t>Estrazione</a:t>
            </a:r>
            <a:r>
              <a:rPr lang="en-GB" sz="2000" b="1" dirty="0">
                <a:solidFill>
                  <a:srgbClr val="003294"/>
                </a:solidFill>
              </a:rPr>
              <a:t> </a:t>
            </a:r>
            <a:r>
              <a:rPr lang="en-GB" sz="2000" b="1" dirty="0" err="1">
                <a:solidFill>
                  <a:srgbClr val="003294"/>
                </a:solidFill>
              </a:rPr>
              <a:t>esclusivamente</a:t>
            </a:r>
            <a:r>
              <a:rPr lang="en-GB" sz="2000" b="1" dirty="0">
                <a:solidFill>
                  <a:srgbClr val="003294"/>
                </a:solidFill>
              </a:rPr>
              <a:t> </a:t>
            </a:r>
            <a:r>
              <a:rPr lang="en-GB" sz="2000" b="1" dirty="0" err="1">
                <a:solidFill>
                  <a:srgbClr val="003294"/>
                </a:solidFill>
              </a:rPr>
              <a:t>testuale</a:t>
            </a:r>
            <a:endParaRPr lang="en-GB" sz="2000" b="1" dirty="0">
              <a:solidFill>
                <a:srgbClr val="003294"/>
              </a:solidFill>
            </a:endParaRPr>
          </a:p>
          <a:p>
            <a:pPr>
              <a:lnSpc>
                <a:spcPct val="110000"/>
              </a:lnSpc>
              <a:spcAft>
                <a:spcPts val="300"/>
              </a:spcAft>
              <a:defRPr/>
            </a:pPr>
            <a:r>
              <a:rPr lang="it-IT" sz="2000" i="1" dirty="0">
                <a:solidFill>
                  <a:srgbClr val="003294"/>
                </a:solidFill>
              </a:rPr>
              <a:t>Il testo viene elaborato separatamente come primo step, estraendo le informazioni linguistiche senza considerare l’immagine</a:t>
            </a:r>
          </a:p>
        </p:txBody>
      </p:sp>
      <p:sp>
        <p:nvSpPr>
          <p:cNvPr id="22" name="TextBox 36">
            <a:extLst>
              <a:ext uri="{FF2B5EF4-FFF2-40B4-BE49-F238E27FC236}">
                <a16:creationId xmlns:a16="http://schemas.microsoft.com/office/drawing/2014/main" id="{7030E6BC-7B32-B171-C847-3274019D264A}"/>
              </a:ext>
            </a:extLst>
          </p:cNvPr>
          <p:cNvSpPr txBox="1"/>
          <p:nvPr/>
        </p:nvSpPr>
        <p:spPr>
          <a:xfrm>
            <a:off x="2261794" y="2904737"/>
            <a:ext cx="8952306" cy="1037207"/>
          </a:xfrm>
          <a:prstGeom prst="rect">
            <a:avLst/>
          </a:prstGeom>
          <a:noFill/>
        </p:spPr>
        <p:txBody>
          <a:bodyPr wrap="square" lIns="0" tIns="0" rIns="0" bIns="0" rtlCol="0">
            <a:spAutoFit/>
          </a:bodyPr>
          <a:lstStyle/>
          <a:p>
            <a:pPr>
              <a:lnSpc>
                <a:spcPct val="110000"/>
              </a:lnSpc>
              <a:spcAft>
                <a:spcPts val="300"/>
              </a:spcAft>
              <a:defRPr/>
            </a:pPr>
            <a:r>
              <a:rPr lang="en-GB" sz="2000" b="1" dirty="0" err="1">
                <a:solidFill>
                  <a:srgbClr val="003294"/>
                </a:solidFill>
              </a:rPr>
              <a:t>Interazione</a:t>
            </a:r>
            <a:r>
              <a:rPr lang="en-GB" sz="2000" b="1" dirty="0">
                <a:solidFill>
                  <a:srgbClr val="003294"/>
                </a:solidFill>
              </a:rPr>
              <a:t> co-attention</a:t>
            </a:r>
          </a:p>
          <a:p>
            <a:pPr>
              <a:lnSpc>
                <a:spcPct val="110000"/>
              </a:lnSpc>
              <a:spcAft>
                <a:spcPts val="300"/>
              </a:spcAft>
              <a:defRPr/>
            </a:pPr>
            <a:r>
              <a:rPr lang="it-IT" sz="2000" i="1" dirty="0">
                <a:solidFill>
                  <a:srgbClr val="003294"/>
                </a:solidFill>
              </a:rPr>
              <a:t>Successivamente, il modello utilizza un meccanismo di attenzione incrociata per combinare e bilanciare le informazioni provenienti dal testo e dall'immagine.</a:t>
            </a:r>
            <a:endParaRPr lang="it-IT" sz="2000" b="1" i="1" dirty="0">
              <a:solidFill>
                <a:srgbClr val="003294"/>
              </a:solidFill>
            </a:endParaRPr>
          </a:p>
        </p:txBody>
      </p:sp>
      <p:sp>
        <p:nvSpPr>
          <p:cNvPr id="23" name="TextBox 42">
            <a:extLst>
              <a:ext uri="{FF2B5EF4-FFF2-40B4-BE49-F238E27FC236}">
                <a16:creationId xmlns:a16="http://schemas.microsoft.com/office/drawing/2014/main" id="{48FD1126-D966-9A5C-F86D-7EB11A851D1A}"/>
              </a:ext>
            </a:extLst>
          </p:cNvPr>
          <p:cNvSpPr txBox="1"/>
          <p:nvPr/>
        </p:nvSpPr>
        <p:spPr>
          <a:xfrm>
            <a:off x="2261794" y="4349639"/>
            <a:ext cx="8952306" cy="1037207"/>
          </a:xfrm>
          <a:prstGeom prst="rect">
            <a:avLst/>
          </a:prstGeom>
          <a:noFill/>
        </p:spPr>
        <p:txBody>
          <a:bodyPr wrap="square" lIns="0" tIns="0" rIns="0" bIns="0" rtlCol="0">
            <a:spAutoFit/>
          </a:bodyPr>
          <a:lstStyle/>
          <a:p>
            <a:pPr>
              <a:lnSpc>
                <a:spcPct val="110000"/>
              </a:lnSpc>
              <a:spcAft>
                <a:spcPts val="300"/>
              </a:spcAft>
              <a:defRPr/>
            </a:pPr>
            <a:r>
              <a:rPr lang="en-GB" sz="2000" b="1" dirty="0">
                <a:solidFill>
                  <a:srgbClr val="003294"/>
                </a:solidFill>
              </a:rPr>
              <a:t>Matching token-patch</a:t>
            </a:r>
          </a:p>
          <a:p>
            <a:pPr>
              <a:lnSpc>
                <a:spcPct val="110000"/>
              </a:lnSpc>
              <a:spcAft>
                <a:spcPts val="300"/>
              </a:spcAft>
              <a:defRPr/>
            </a:pPr>
            <a:r>
              <a:rPr lang="it-IT" sz="2000" i="1" dirty="0">
                <a:solidFill>
                  <a:srgbClr val="003294"/>
                </a:solidFill>
              </a:rPr>
              <a:t>Infine, il matching token-patch consente di allineare direttamente parole specifiche del testo alle parti rilevanti dell’immagine, migliorando l’integrazione tra le due modalità</a:t>
            </a:r>
            <a:r>
              <a:rPr lang="it-IT" sz="2000" dirty="0">
                <a:solidFill>
                  <a:srgbClr val="003294"/>
                </a:solidFill>
              </a:rPr>
              <a:t>.</a:t>
            </a:r>
            <a:endParaRPr lang="en-GB" sz="2000" dirty="0">
              <a:solidFill>
                <a:srgbClr val="003294"/>
              </a:solidFill>
            </a:endParaRPr>
          </a:p>
        </p:txBody>
      </p:sp>
      <p:grpSp>
        <p:nvGrpSpPr>
          <p:cNvPr id="24" name="Group 7">
            <a:extLst>
              <a:ext uri="{FF2B5EF4-FFF2-40B4-BE49-F238E27FC236}">
                <a16:creationId xmlns:a16="http://schemas.microsoft.com/office/drawing/2014/main" id="{0816BDA1-7464-7B67-DEBD-ADE026521FB5}"/>
              </a:ext>
            </a:extLst>
          </p:cNvPr>
          <p:cNvGrpSpPr/>
          <p:nvPr/>
        </p:nvGrpSpPr>
        <p:grpSpPr>
          <a:xfrm>
            <a:off x="865918" y="1166909"/>
            <a:ext cx="1210174" cy="1080000"/>
            <a:chOff x="998400" y="1322388"/>
            <a:chExt cx="1210174" cy="1080000"/>
          </a:xfrm>
          <a:solidFill>
            <a:srgbClr val="00338D"/>
          </a:solidFill>
        </p:grpSpPr>
        <p:sp>
          <p:nvSpPr>
            <p:cNvPr id="25" name="Rectangle 24">
              <a:extLst>
                <a:ext uri="{FF2B5EF4-FFF2-40B4-BE49-F238E27FC236}">
                  <a16:creationId xmlns:a16="http://schemas.microsoft.com/office/drawing/2014/main" id="{1CF84D9B-AB1A-32B7-A930-39C1903D9E5B}"/>
                </a:ext>
              </a:extLst>
            </p:cNvPr>
            <p:cNvSpPr/>
            <p:nvPr/>
          </p:nvSpPr>
          <p:spPr>
            <a:xfrm>
              <a:off x="998400" y="1322388"/>
              <a:ext cx="1080000" cy="1080000"/>
            </a:xfrm>
            <a:prstGeom prst="rect">
              <a:avLst/>
            </a:prstGeom>
            <a:grp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sz="4000" b="0" i="0" u="none" strike="noStrike" kern="0" cap="none" spc="0" normalizeH="0" baseline="0" noProof="0">
                  <a:ln>
                    <a:noFill/>
                  </a:ln>
                  <a:solidFill>
                    <a:prstClr val="white"/>
                  </a:solidFill>
                  <a:effectLst/>
                  <a:uLnTx/>
                  <a:uFillTx/>
                  <a:latin typeface="KPMG Bold"/>
                  <a:ea typeface="+mn-ea"/>
                  <a:cs typeface="+mn-cs"/>
                </a:rPr>
                <a:t>01</a:t>
              </a:r>
            </a:p>
          </p:txBody>
        </p:sp>
        <p:sp>
          <p:nvSpPr>
            <p:cNvPr id="27" name="Isosceles Triangle 3">
              <a:extLst>
                <a:ext uri="{FF2B5EF4-FFF2-40B4-BE49-F238E27FC236}">
                  <a16:creationId xmlns:a16="http://schemas.microsoft.com/office/drawing/2014/main" id="{639E709F-6009-9CF2-70D6-1895FAF78599}"/>
                </a:ext>
              </a:extLst>
            </p:cNvPr>
            <p:cNvSpPr/>
            <p:nvPr/>
          </p:nvSpPr>
          <p:spPr>
            <a:xfrm rot="5400000">
              <a:off x="2010188" y="1786587"/>
              <a:ext cx="245165" cy="151606"/>
            </a:xfrm>
            <a:prstGeom prst="triangle">
              <a:avLst/>
            </a:prstGeom>
            <a:grp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err="1">
                <a:ln>
                  <a:noFill/>
                </a:ln>
                <a:solidFill>
                  <a:prstClr val="white"/>
                </a:solidFill>
                <a:effectLst/>
                <a:uLnTx/>
                <a:uFillTx/>
                <a:latin typeface="Arial"/>
                <a:ea typeface="+mn-ea"/>
                <a:cs typeface="+mn-cs"/>
              </a:endParaRPr>
            </a:p>
          </p:txBody>
        </p:sp>
      </p:grpSp>
      <p:grpSp>
        <p:nvGrpSpPr>
          <p:cNvPr id="28" name="Group 8">
            <a:extLst>
              <a:ext uri="{FF2B5EF4-FFF2-40B4-BE49-F238E27FC236}">
                <a16:creationId xmlns:a16="http://schemas.microsoft.com/office/drawing/2014/main" id="{9A3E1E28-3685-CB57-9390-BBC8221F777D}"/>
              </a:ext>
            </a:extLst>
          </p:cNvPr>
          <p:cNvGrpSpPr/>
          <p:nvPr/>
        </p:nvGrpSpPr>
        <p:grpSpPr>
          <a:xfrm>
            <a:off x="865918" y="2758274"/>
            <a:ext cx="1210174" cy="1080000"/>
            <a:chOff x="998400" y="2913753"/>
            <a:chExt cx="1210174" cy="1080000"/>
          </a:xfrm>
          <a:solidFill>
            <a:srgbClr val="1E49E2"/>
          </a:solidFill>
        </p:grpSpPr>
        <p:sp>
          <p:nvSpPr>
            <p:cNvPr id="29" name="Rectangle 34">
              <a:extLst>
                <a:ext uri="{FF2B5EF4-FFF2-40B4-BE49-F238E27FC236}">
                  <a16:creationId xmlns:a16="http://schemas.microsoft.com/office/drawing/2014/main" id="{F8AD2CD9-9482-A5B3-4CA1-B99145DE6C53}"/>
                </a:ext>
              </a:extLst>
            </p:cNvPr>
            <p:cNvSpPr/>
            <p:nvPr/>
          </p:nvSpPr>
          <p:spPr>
            <a:xfrm>
              <a:off x="998400" y="2913753"/>
              <a:ext cx="1080000" cy="1080000"/>
            </a:xfrm>
            <a:prstGeom prst="rect">
              <a:avLst/>
            </a:prstGeom>
            <a:grp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sz="4000" b="0" i="0" u="none" strike="noStrike" kern="0" cap="none" spc="0" normalizeH="0" baseline="0" noProof="0">
                  <a:ln>
                    <a:noFill/>
                  </a:ln>
                  <a:solidFill>
                    <a:prstClr val="white"/>
                  </a:solidFill>
                  <a:effectLst/>
                  <a:uLnTx/>
                  <a:uFillTx/>
                  <a:latin typeface="KPMG Bold"/>
                  <a:ea typeface="+mn-ea"/>
                  <a:cs typeface="+mn-cs"/>
                </a:rPr>
                <a:t>02</a:t>
              </a:r>
            </a:p>
          </p:txBody>
        </p:sp>
        <p:sp>
          <p:nvSpPr>
            <p:cNvPr id="30" name="Isosceles Triangle 52">
              <a:extLst>
                <a:ext uri="{FF2B5EF4-FFF2-40B4-BE49-F238E27FC236}">
                  <a16:creationId xmlns:a16="http://schemas.microsoft.com/office/drawing/2014/main" id="{1ABE1F56-BE7D-0421-67A3-037C50647612}"/>
                </a:ext>
              </a:extLst>
            </p:cNvPr>
            <p:cNvSpPr/>
            <p:nvPr/>
          </p:nvSpPr>
          <p:spPr>
            <a:xfrm rot="5400000">
              <a:off x="2010188" y="3377950"/>
              <a:ext cx="245165" cy="151606"/>
            </a:xfrm>
            <a:prstGeom prst="triangle">
              <a:avLst/>
            </a:prstGeom>
            <a:grp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err="1">
                <a:ln>
                  <a:noFill/>
                </a:ln>
                <a:solidFill>
                  <a:prstClr val="white"/>
                </a:solidFill>
                <a:effectLst/>
                <a:uLnTx/>
                <a:uFillTx/>
                <a:latin typeface="Arial"/>
                <a:ea typeface="+mn-ea"/>
                <a:cs typeface="+mn-cs"/>
              </a:endParaRPr>
            </a:p>
          </p:txBody>
        </p:sp>
      </p:grpSp>
      <p:grpSp>
        <p:nvGrpSpPr>
          <p:cNvPr id="31" name="Group 9">
            <a:extLst>
              <a:ext uri="{FF2B5EF4-FFF2-40B4-BE49-F238E27FC236}">
                <a16:creationId xmlns:a16="http://schemas.microsoft.com/office/drawing/2014/main" id="{6C396747-E517-B5F9-9E43-0DEA154386DF}"/>
              </a:ext>
            </a:extLst>
          </p:cNvPr>
          <p:cNvGrpSpPr/>
          <p:nvPr/>
        </p:nvGrpSpPr>
        <p:grpSpPr>
          <a:xfrm>
            <a:off x="865918" y="4349639"/>
            <a:ext cx="1210174" cy="1080000"/>
            <a:chOff x="998400" y="4505118"/>
            <a:chExt cx="1210174" cy="1080000"/>
          </a:xfrm>
          <a:solidFill>
            <a:srgbClr val="0C233C"/>
          </a:solidFill>
        </p:grpSpPr>
        <p:sp>
          <p:nvSpPr>
            <p:cNvPr id="32" name="Rectangle 41">
              <a:extLst>
                <a:ext uri="{FF2B5EF4-FFF2-40B4-BE49-F238E27FC236}">
                  <a16:creationId xmlns:a16="http://schemas.microsoft.com/office/drawing/2014/main" id="{8989E855-6BD5-74C9-ABB3-FAAD4FCD1159}"/>
                </a:ext>
              </a:extLst>
            </p:cNvPr>
            <p:cNvSpPr/>
            <p:nvPr/>
          </p:nvSpPr>
          <p:spPr>
            <a:xfrm>
              <a:off x="998400" y="4505118"/>
              <a:ext cx="1080000" cy="1080000"/>
            </a:xfrm>
            <a:prstGeom prst="rect">
              <a:avLst/>
            </a:prstGeom>
            <a:grp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sz="4000" b="0" i="0" u="none" strike="noStrike" kern="0" cap="none" spc="0" normalizeH="0" baseline="0" noProof="0">
                  <a:ln>
                    <a:noFill/>
                  </a:ln>
                  <a:solidFill>
                    <a:prstClr val="white"/>
                  </a:solidFill>
                  <a:effectLst/>
                  <a:uLnTx/>
                  <a:uFillTx/>
                  <a:latin typeface="KPMG Bold"/>
                  <a:ea typeface="+mn-ea"/>
                  <a:cs typeface="+mn-cs"/>
                </a:rPr>
                <a:t>03</a:t>
              </a:r>
            </a:p>
          </p:txBody>
        </p:sp>
        <p:sp>
          <p:nvSpPr>
            <p:cNvPr id="33" name="Isosceles Triangle 53">
              <a:extLst>
                <a:ext uri="{FF2B5EF4-FFF2-40B4-BE49-F238E27FC236}">
                  <a16:creationId xmlns:a16="http://schemas.microsoft.com/office/drawing/2014/main" id="{739A39C7-E190-7908-D2BD-1BB421212EF2}"/>
                </a:ext>
              </a:extLst>
            </p:cNvPr>
            <p:cNvSpPr/>
            <p:nvPr/>
          </p:nvSpPr>
          <p:spPr>
            <a:xfrm rot="5400000">
              <a:off x="2010188" y="4968666"/>
              <a:ext cx="245165" cy="151606"/>
            </a:xfrm>
            <a:prstGeom prst="triangle">
              <a:avLst/>
            </a:prstGeom>
            <a:grp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err="1">
                <a:ln>
                  <a:noFill/>
                </a:ln>
                <a:solidFill>
                  <a:prstClr val="white"/>
                </a:solidFill>
                <a:effectLst/>
                <a:uLnTx/>
                <a:uFillTx/>
                <a:latin typeface="Arial"/>
                <a:ea typeface="+mn-ea"/>
                <a:cs typeface="+mn-cs"/>
              </a:endParaRPr>
            </a:p>
          </p:txBody>
        </p:sp>
      </p:grpSp>
      <p:grpSp>
        <p:nvGrpSpPr>
          <p:cNvPr id="42" name="Gruppo 41">
            <a:extLst>
              <a:ext uri="{FF2B5EF4-FFF2-40B4-BE49-F238E27FC236}">
                <a16:creationId xmlns:a16="http://schemas.microsoft.com/office/drawing/2014/main" id="{C4B143C8-38FA-6671-8BC9-A195EA456A71}"/>
              </a:ext>
            </a:extLst>
          </p:cNvPr>
          <p:cNvGrpSpPr/>
          <p:nvPr/>
        </p:nvGrpSpPr>
        <p:grpSpPr>
          <a:xfrm>
            <a:off x="2850804" y="5725315"/>
            <a:ext cx="6490392" cy="540000"/>
            <a:chOff x="2076092" y="5725315"/>
            <a:chExt cx="6490392" cy="540000"/>
          </a:xfrm>
        </p:grpSpPr>
        <p:sp>
          <p:nvSpPr>
            <p:cNvPr id="38" name="Rettangolo 37">
              <a:extLst>
                <a:ext uri="{FF2B5EF4-FFF2-40B4-BE49-F238E27FC236}">
                  <a16:creationId xmlns:a16="http://schemas.microsoft.com/office/drawing/2014/main" id="{3E1FBC4A-8A02-CA27-36A5-6C5A331BAC97}"/>
                </a:ext>
              </a:extLst>
            </p:cNvPr>
            <p:cNvSpPr/>
            <p:nvPr/>
          </p:nvSpPr>
          <p:spPr>
            <a:xfrm>
              <a:off x="2519259" y="5776695"/>
              <a:ext cx="6047225" cy="431001"/>
            </a:xfrm>
            <a:prstGeom prst="rect">
              <a:avLst/>
            </a:prstGeom>
            <a:solidFill>
              <a:srgbClr val="4472C4">
                <a:lumMod val="20000"/>
                <a:lumOff val="80000"/>
              </a:srgbClr>
            </a:solidFill>
            <a:ln w="12700" cap="flat" cmpd="sng" algn="ctr">
              <a:solidFill>
                <a:srgbClr val="002060"/>
              </a:solidFill>
              <a:prstDash val="solid"/>
              <a:miter lim="800000"/>
            </a:ln>
            <a:effectLst/>
          </p:spPr>
          <p:txBody>
            <a:bodyPr rtlCol="0" anchor="ctr"/>
            <a:lstStyle/>
            <a:p>
              <a:pPr marL="216000" marR="0" lvl="1" indent="0" algn="just" defTabSz="914400" eaLnBrk="1" fontAlgn="auto" latinLnBrk="0" hangingPunct="1">
                <a:lnSpc>
                  <a:spcPct val="100000"/>
                </a:lnSpc>
                <a:spcBef>
                  <a:spcPts val="0"/>
                </a:spcBef>
                <a:spcAft>
                  <a:spcPts val="600"/>
                </a:spcAft>
                <a:buClrTx/>
                <a:buSzTx/>
                <a:buFontTx/>
                <a:buNone/>
                <a:tabLst/>
                <a:defRPr/>
              </a:pPr>
              <a:r>
                <a:rPr lang="it-IT" sz="1600" dirty="0">
                  <a:solidFill>
                    <a:srgbClr val="00396F"/>
                  </a:solidFill>
                </a:rPr>
                <a:t>Queste strategie sono usate </a:t>
              </a:r>
              <a:r>
                <a:rPr lang="it-IT" sz="1600" b="1" dirty="0">
                  <a:solidFill>
                    <a:srgbClr val="00396F"/>
                  </a:solidFill>
                </a:rPr>
                <a:t>in parallelo e in modo complementare.</a:t>
              </a:r>
              <a:endParaRPr kumimoji="0" lang="it-IT" sz="1600" b="0" i="0" u="none" strike="noStrike" kern="0" cap="none" spc="0" normalizeH="0" baseline="0" noProof="0" dirty="0">
                <a:ln>
                  <a:noFill/>
                </a:ln>
                <a:solidFill>
                  <a:srgbClr val="00396F"/>
                </a:solidFill>
                <a:effectLst/>
                <a:uLnTx/>
                <a:uFillTx/>
                <a:latin typeface="Verdana" panose="020B0604030504040204" pitchFamily="34" charset="0"/>
                <a:ea typeface="Verdana" panose="020B0604030504040204" pitchFamily="34" charset="0"/>
              </a:endParaRPr>
            </a:p>
          </p:txBody>
        </p:sp>
        <p:grpSp>
          <p:nvGrpSpPr>
            <p:cNvPr id="41" name="Gruppo 40">
              <a:extLst>
                <a:ext uri="{FF2B5EF4-FFF2-40B4-BE49-F238E27FC236}">
                  <a16:creationId xmlns:a16="http://schemas.microsoft.com/office/drawing/2014/main" id="{D04FFA54-69A2-6A41-6A8E-09336A2D6D1A}"/>
                </a:ext>
              </a:extLst>
            </p:cNvPr>
            <p:cNvGrpSpPr/>
            <p:nvPr/>
          </p:nvGrpSpPr>
          <p:grpSpPr>
            <a:xfrm>
              <a:off x="2076092" y="5725315"/>
              <a:ext cx="540000" cy="540000"/>
              <a:chOff x="2076092" y="5725315"/>
              <a:chExt cx="540000" cy="540000"/>
            </a:xfrm>
          </p:grpSpPr>
          <p:sp>
            <p:nvSpPr>
              <p:cNvPr id="34" name="Rettangolo 33">
                <a:extLst>
                  <a:ext uri="{FF2B5EF4-FFF2-40B4-BE49-F238E27FC236}">
                    <a16:creationId xmlns:a16="http://schemas.microsoft.com/office/drawing/2014/main" id="{7DD56D3E-4A9E-FC9D-924B-86C02DE649AE}"/>
                  </a:ext>
                </a:extLst>
              </p:cNvPr>
              <p:cNvSpPr/>
              <p:nvPr/>
            </p:nvSpPr>
            <p:spPr>
              <a:xfrm>
                <a:off x="2076092" y="5725315"/>
                <a:ext cx="540000" cy="540000"/>
              </a:xfrm>
              <a:prstGeom prst="rect">
                <a:avLst/>
              </a:prstGeom>
              <a:solidFill>
                <a:srgbClr val="ECF2E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0" name="Elemento grafico 39" descr="Punto esclamativo con riempimento a tinta unita">
                <a:extLst>
                  <a:ext uri="{FF2B5EF4-FFF2-40B4-BE49-F238E27FC236}">
                    <a16:creationId xmlns:a16="http://schemas.microsoft.com/office/drawing/2014/main" id="{9B3B3EBB-57ED-8442-A2FD-6D98660792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26648" y="5775871"/>
                <a:ext cx="438888" cy="438888"/>
              </a:xfrm>
              <a:prstGeom prst="rect">
                <a:avLst/>
              </a:prstGeom>
            </p:spPr>
          </p:pic>
        </p:grpSp>
      </p:grpSp>
    </p:spTree>
    <p:extLst>
      <p:ext uri="{BB962C8B-B14F-4D97-AF65-F5344CB8AC3E}">
        <p14:creationId xmlns:p14="http://schemas.microsoft.com/office/powerpoint/2010/main" val="1421679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D4A03-03E5-40F6-7159-C1EEBACB0C0D}"/>
            </a:ext>
          </a:extLst>
        </p:cNvPr>
        <p:cNvGrpSpPr/>
        <p:nvPr/>
      </p:nvGrpSpPr>
      <p:grpSpPr>
        <a:xfrm>
          <a:off x="0" y="0"/>
          <a:ext cx="0" cy="0"/>
          <a:chOff x="0" y="0"/>
          <a:chExt cx="0" cy="0"/>
        </a:xfrm>
      </p:grpSpPr>
      <p:sp>
        <p:nvSpPr>
          <p:cNvPr id="82" name="Rectangle: Rounded Corners 113">
            <a:extLst>
              <a:ext uri="{FF2B5EF4-FFF2-40B4-BE49-F238E27FC236}">
                <a16:creationId xmlns:a16="http://schemas.microsoft.com/office/drawing/2014/main" id="{9DB4A320-2759-D8D3-50D1-B8EFAAB88110}"/>
              </a:ext>
            </a:extLst>
          </p:cNvPr>
          <p:cNvSpPr/>
          <p:nvPr/>
        </p:nvSpPr>
        <p:spPr>
          <a:xfrm>
            <a:off x="8157942" y="2181187"/>
            <a:ext cx="3693199" cy="1893829"/>
          </a:xfrm>
          <a:prstGeom prst="roundRect">
            <a:avLst>
              <a:gd name="adj" fmla="val 4542"/>
            </a:avLst>
          </a:prstGeom>
          <a:solidFill>
            <a:schemeClr val="bg1"/>
          </a:solidFill>
          <a:ln w="19050">
            <a:solidFill>
              <a:srgbClr val="2E75B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81" name="Rectangle: Rounded Corners 113">
            <a:extLst>
              <a:ext uri="{FF2B5EF4-FFF2-40B4-BE49-F238E27FC236}">
                <a16:creationId xmlns:a16="http://schemas.microsoft.com/office/drawing/2014/main" id="{B9F624C6-B81C-2DF7-30E3-8715A917661D}"/>
              </a:ext>
            </a:extLst>
          </p:cNvPr>
          <p:cNvSpPr/>
          <p:nvPr/>
        </p:nvSpPr>
        <p:spPr>
          <a:xfrm>
            <a:off x="4146953" y="2201828"/>
            <a:ext cx="3693199" cy="1893833"/>
          </a:xfrm>
          <a:prstGeom prst="roundRect">
            <a:avLst>
              <a:gd name="adj" fmla="val 4542"/>
            </a:avLst>
          </a:prstGeom>
          <a:solidFill>
            <a:schemeClr val="bg1"/>
          </a:solidFill>
          <a:ln w="19050">
            <a:solidFill>
              <a:srgbClr val="4472C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80" name="Rectangle: Rounded Corners 113">
            <a:extLst>
              <a:ext uri="{FF2B5EF4-FFF2-40B4-BE49-F238E27FC236}">
                <a16:creationId xmlns:a16="http://schemas.microsoft.com/office/drawing/2014/main" id="{D0C3C1A3-7F9B-4497-781E-9215678479F3}"/>
              </a:ext>
            </a:extLst>
          </p:cNvPr>
          <p:cNvSpPr/>
          <p:nvPr/>
        </p:nvSpPr>
        <p:spPr>
          <a:xfrm>
            <a:off x="167597" y="2201828"/>
            <a:ext cx="3693199" cy="1893829"/>
          </a:xfrm>
          <a:prstGeom prst="roundRect">
            <a:avLst>
              <a:gd name="adj" fmla="val 4542"/>
            </a:avLst>
          </a:prstGeom>
          <a:solidFill>
            <a:schemeClr val="bg1"/>
          </a:solidFill>
          <a:ln w="19050">
            <a:solidFill>
              <a:srgbClr val="00396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graphicFrame>
        <p:nvGraphicFramePr>
          <p:cNvPr id="2" name="Object 1" hidden="1">
            <a:extLst>
              <a:ext uri="{FF2B5EF4-FFF2-40B4-BE49-F238E27FC236}">
                <a16:creationId xmlns:a16="http://schemas.microsoft.com/office/drawing/2014/main" id="{57F2FB92-F5D8-35DE-923E-2C60E2AE59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7F2FB92-F5D8-35DE-923E-2C60E2AE5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974EE529-17B4-1D64-F4BB-11806908C88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E670F2EE-0F99-9431-B1C9-3C80F95FA4F2}"/>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8</a:t>
            </a:fld>
            <a:endParaRPr lang="en-GB" dirty="0">
              <a:solidFill>
                <a:srgbClr val="00396F"/>
              </a:solidFill>
              <a:latin typeface="Abadi" panose="020B0604020104020204" pitchFamily="34" charset="0"/>
            </a:endParaRPr>
          </a:p>
        </p:txBody>
      </p:sp>
      <p:sp>
        <p:nvSpPr>
          <p:cNvPr id="4" name="Title 2">
            <a:extLst>
              <a:ext uri="{FF2B5EF4-FFF2-40B4-BE49-F238E27FC236}">
                <a16:creationId xmlns:a16="http://schemas.microsoft.com/office/drawing/2014/main" id="{86D61347-C5FF-B872-10AB-74CBE5B3246F}"/>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00396F"/>
                </a:solidFill>
              </a:rPr>
              <a:t>Experiments (1/2)</a:t>
            </a:r>
            <a:endParaRPr lang="it-IT" sz="3200" dirty="0">
              <a:solidFill>
                <a:srgbClr val="00396F"/>
              </a:solidFill>
            </a:endParaRPr>
          </a:p>
        </p:txBody>
      </p:sp>
      <p:sp>
        <p:nvSpPr>
          <p:cNvPr id="46" name="Rectangle 8">
            <a:extLst>
              <a:ext uri="{FF2B5EF4-FFF2-40B4-BE49-F238E27FC236}">
                <a16:creationId xmlns:a16="http://schemas.microsoft.com/office/drawing/2014/main" id="{E8BB4599-72B7-98C6-24D1-2A7741C363F0}"/>
              </a:ext>
            </a:extLst>
          </p:cNvPr>
          <p:cNvSpPr/>
          <p:nvPr/>
        </p:nvSpPr>
        <p:spPr>
          <a:xfrm>
            <a:off x="1068457" y="1070823"/>
            <a:ext cx="2016000" cy="864000"/>
          </a:xfrm>
          <a:prstGeom prst="roundRect">
            <a:avLst/>
          </a:prstGeom>
          <a:solidFill>
            <a:schemeClr val="accent1">
              <a:lumMod val="50000"/>
            </a:schemeClr>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lang="en-GB" sz="2400" b="1" kern="0" dirty="0">
                <a:solidFill>
                  <a:srgbClr val="FFFFFF"/>
                </a:solidFill>
              </a:rPr>
              <a:t>Objective</a:t>
            </a:r>
            <a:endParaRPr kumimoji="0" lang="en-GB" sz="2400" b="1" i="0" u="none" strike="noStrike" kern="0" cap="none" spc="0" normalizeH="0" baseline="0" noProof="0" dirty="0">
              <a:ln>
                <a:noFill/>
              </a:ln>
              <a:solidFill>
                <a:srgbClr val="FFFFFF"/>
              </a:solidFill>
              <a:effectLst/>
              <a:uLnTx/>
              <a:uFillTx/>
              <a:ea typeface="+mn-ea"/>
              <a:cs typeface="+mn-cs"/>
            </a:endParaRPr>
          </a:p>
        </p:txBody>
      </p:sp>
      <p:sp>
        <p:nvSpPr>
          <p:cNvPr id="49" name="Rectangle 8">
            <a:extLst>
              <a:ext uri="{FF2B5EF4-FFF2-40B4-BE49-F238E27FC236}">
                <a16:creationId xmlns:a16="http://schemas.microsoft.com/office/drawing/2014/main" id="{7E3C300B-EDCB-CEDA-DCCE-1BCE576DA342}"/>
              </a:ext>
            </a:extLst>
          </p:cNvPr>
          <p:cNvSpPr/>
          <p:nvPr/>
        </p:nvSpPr>
        <p:spPr>
          <a:xfrm>
            <a:off x="4983875" y="1070823"/>
            <a:ext cx="2016000" cy="864000"/>
          </a:xfrm>
          <a:prstGeom prst="roundRect">
            <a:avLst/>
          </a:prstGeom>
          <a:solidFill>
            <a:schemeClr val="accent1"/>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lang="en-GB" sz="2400" b="1" kern="0" dirty="0">
                <a:solidFill>
                  <a:srgbClr val="FFFFFF"/>
                </a:solidFill>
              </a:rPr>
              <a:t>Advantages</a:t>
            </a:r>
            <a:endParaRPr kumimoji="0" lang="en-GB" sz="2400" b="1" i="0" u="none" strike="noStrike" kern="0" cap="none" spc="0" normalizeH="0" baseline="0" noProof="0" dirty="0">
              <a:ln>
                <a:noFill/>
              </a:ln>
              <a:solidFill>
                <a:srgbClr val="FFFFFF"/>
              </a:solidFill>
              <a:effectLst/>
              <a:uLnTx/>
              <a:uFillTx/>
              <a:ea typeface="+mn-ea"/>
              <a:cs typeface="+mn-cs"/>
            </a:endParaRPr>
          </a:p>
        </p:txBody>
      </p:sp>
      <p:sp>
        <p:nvSpPr>
          <p:cNvPr id="50" name="Rectangle 8">
            <a:extLst>
              <a:ext uri="{FF2B5EF4-FFF2-40B4-BE49-F238E27FC236}">
                <a16:creationId xmlns:a16="http://schemas.microsoft.com/office/drawing/2014/main" id="{04747406-7A83-339B-3571-8580BBCA63F0}"/>
              </a:ext>
            </a:extLst>
          </p:cNvPr>
          <p:cNvSpPr/>
          <p:nvPr/>
        </p:nvSpPr>
        <p:spPr>
          <a:xfrm>
            <a:off x="8904756" y="1070823"/>
            <a:ext cx="2016000" cy="864000"/>
          </a:xfrm>
          <a:prstGeom prst="roundRect">
            <a:avLst/>
          </a:prstGeom>
          <a:solidFill>
            <a:schemeClr val="accent5">
              <a:lumMod val="75000"/>
            </a:schemeClr>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sz="2400" b="1" i="0" u="none" strike="noStrike" kern="0" cap="none" spc="0" normalizeH="0" baseline="0" noProof="0" dirty="0">
                <a:ln>
                  <a:noFill/>
                </a:ln>
                <a:solidFill>
                  <a:srgbClr val="FFFFFF"/>
                </a:solidFill>
                <a:effectLst/>
                <a:uLnTx/>
                <a:uFillTx/>
                <a:ea typeface="+mn-ea"/>
                <a:cs typeface="+mn-cs"/>
              </a:rPr>
              <a:t>Result</a:t>
            </a:r>
          </a:p>
        </p:txBody>
      </p:sp>
      <p:sp>
        <p:nvSpPr>
          <p:cNvPr id="52" name="CasellaDiTesto 51">
            <a:extLst>
              <a:ext uri="{FF2B5EF4-FFF2-40B4-BE49-F238E27FC236}">
                <a16:creationId xmlns:a16="http://schemas.microsoft.com/office/drawing/2014/main" id="{0797BA31-2C5B-9998-F2D6-4E06F74E0C77}"/>
              </a:ext>
            </a:extLst>
          </p:cNvPr>
          <p:cNvSpPr txBox="1"/>
          <p:nvPr/>
        </p:nvSpPr>
        <p:spPr>
          <a:xfrm>
            <a:off x="292115" y="2367279"/>
            <a:ext cx="3365485" cy="923330"/>
          </a:xfrm>
          <a:prstGeom prst="rect">
            <a:avLst/>
          </a:prstGeom>
          <a:noFill/>
        </p:spPr>
        <p:txBody>
          <a:bodyPr wrap="square">
            <a:spAutoFit/>
          </a:bodyPr>
          <a:lstStyle/>
          <a:p>
            <a:pPr marL="285750" indent="-285750" algn="just">
              <a:buFont typeface="Wingdings" panose="05000000000000000000" pitchFamily="2" charset="2"/>
              <a:buChar char="Ø"/>
            </a:pPr>
            <a:r>
              <a:rPr lang="it-IT" sz="1800" dirty="0">
                <a:solidFill>
                  <a:srgbClr val="00396F"/>
                </a:solidFill>
              </a:rPr>
              <a:t>Utilizzo di CLIP per inizializzare DTCA con </a:t>
            </a:r>
            <a:r>
              <a:rPr lang="it-IT" sz="1800" dirty="0" err="1">
                <a:solidFill>
                  <a:srgbClr val="00396F"/>
                </a:solidFill>
              </a:rPr>
              <a:t>pre</a:t>
            </a:r>
            <a:r>
              <a:rPr lang="it-IT" sz="1800" dirty="0">
                <a:solidFill>
                  <a:srgbClr val="00396F"/>
                </a:solidFill>
              </a:rPr>
              <a:t>-addestramenti multimodali.</a:t>
            </a:r>
            <a:endParaRPr lang="en-US" sz="1800" dirty="0">
              <a:solidFill>
                <a:srgbClr val="00396F"/>
              </a:solidFill>
            </a:endParaRPr>
          </a:p>
        </p:txBody>
      </p:sp>
      <p:sp>
        <p:nvSpPr>
          <p:cNvPr id="53" name="CasellaDiTesto 52">
            <a:extLst>
              <a:ext uri="{FF2B5EF4-FFF2-40B4-BE49-F238E27FC236}">
                <a16:creationId xmlns:a16="http://schemas.microsoft.com/office/drawing/2014/main" id="{679E37E3-79D6-5A98-C5BB-FB4ED9B3D086}"/>
              </a:ext>
            </a:extLst>
          </p:cNvPr>
          <p:cNvSpPr txBox="1"/>
          <p:nvPr/>
        </p:nvSpPr>
        <p:spPr>
          <a:xfrm>
            <a:off x="4312951" y="2321465"/>
            <a:ext cx="3357848" cy="1754326"/>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lang="it-IT" dirty="0">
                <a:solidFill>
                  <a:srgbClr val="00396F"/>
                </a:solidFill>
              </a:rPr>
              <a:t>CLIP </a:t>
            </a:r>
            <a:r>
              <a:rPr lang="it-IT" b="1" dirty="0">
                <a:solidFill>
                  <a:srgbClr val="00396F"/>
                </a:solidFill>
              </a:rPr>
              <a:t>allinea</a:t>
            </a:r>
            <a:r>
              <a:rPr lang="it-IT" dirty="0">
                <a:solidFill>
                  <a:srgbClr val="00396F"/>
                </a:solidFill>
              </a:rPr>
              <a:t> testo e immagini in modo </a:t>
            </a:r>
            <a:r>
              <a:rPr lang="it-IT" b="1" dirty="0">
                <a:solidFill>
                  <a:srgbClr val="00396F"/>
                </a:solidFill>
              </a:rPr>
              <a:t>contrastivo</a:t>
            </a:r>
            <a:r>
              <a:rPr lang="it-IT" dirty="0">
                <a:solidFill>
                  <a:srgbClr val="00396F"/>
                </a:solidFill>
              </a:rPr>
              <a: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lang="it-IT" dirty="0">
                <a:solidFill>
                  <a:srgbClr val="00396F"/>
                </a:solidFill>
              </a:rPr>
              <a:t>Riduzione attesa dei </a:t>
            </a:r>
            <a:r>
              <a:rPr lang="it-IT" b="1" dirty="0">
                <a:solidFill>
                  <a:srgbClr val="00396F"/>
                </a:solidFill>
              </a:rPr>
              <a:t>tempi di addestramento</a:t>
            </a:r>
            <a:r>
              <a:rPr lang="it-IT" dirty="0">
                <a:solidFill>
                  <a:srgbClr val="00396F"/>
                </a:solidFill>
              </a:rPr>
              <a: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lang="it-IT" dirty="0">
                <a:solidFill>
                  <a:srgbClr val="00396F"/>
                </a:solidFill>
              </a:rPr>
              <a:t>Miglioramento ipotizzato nelle </a:t>
            </a:r>
            <a:r>
              <a:rPr lang="it-IT" b="1" dirty="0">
                <a:solidFill>
                  <a:srgbClr val="00396F"/>
                </a:solidFill>
              </a:rPr>
              <a:t>prestazioni</a:t>
            </a:r>
            <a:r>
              <a:rPr lang="it-IT" dirty="0">
                <a:solidFill>
                  <a:srgbClr val="00396F"/>
                </a:solidFill>
              </a:rPr>
              <a:t> di MABSA.</a:t>
            </a:r>
            <a:endParaRPr kumimoji="0" lang="en-US" altLang="en-US" b="0" i="0" u="none" strike="noStrike" cap="none" normalizeH="0" baseline="0" dirty="0">
              <a:ln>
                <a:noFill/>
              </a:ln>
              <a:solidFill>
                <a:srgbClr val="00396F"/>
              </a:solidFill>
              <a:effectLst/>
            </a:endParaRPr>
          </a:p>
        </p:txBody>
      </p:sp>
      <p:cxnSp>
        <p:nvCxnSpPr>
          <p:cNvPr id="54" name="Straight Connector 4">
            <a:extLst>
              <a:ext uri="{FF2B5EF4-FFF2-40B4-BE49-F238E27FC236}">
                <a16:creationId xmlns:a16="http://schemas.microsoft.com/office/drawing/2014/main" id="{9F1E92DF-5A27-B7F1-693B-813C13546777}"/>
              </a:ext>
            </a:extLst>
          </p:cNvPr>
          <p:cNvCxnSpPr>
            <a:cxnSpLocks/>
          </p:cNvCxnSpPr>
          <p:nvPr/>
        </p:nvCxnSpPr>
        <p:spPr>
          <a:xfrm>
            <a:off x="4027257" y="1070823"/>
            <a:ext cx="0" cy="3874775"/>
          </a:xfrm>
          <a:prstGeom prst="line">
            <a:avLst/>
          </a:prstGeom>
          <a:noFill/>
          <a:ln w="28575" cap="flat" cmpd="sng" algn="ctr">
            <a:solidFill>
              <a:srgbClr val="00338D"/>
            </a:solidFill>
            <a:prstDash val="dashDot"/>
            <a:miter lim="800000"/>
          </a:ln>
          <a:effectLst/>
        </p:spPr>
      </p:cxnSp>
      <p:cxnSp>
        <p:nvCxnSpPr>
          <p:cNvPr id="55" name="Straight Connector 4">
            <a:extLst>
              <a:ext uri="{FF2B5EF4-FFF2-40B4-BE49-F238E27FC236}">
                <a16:creationId xmlns:a16="http://schemas.microsoft.com/office/drawing/2014/main" id="{60687D27-C491-7F59-BBD5-EDDFA7A226B4}"/>
              </a:ext>
            </a:extLst>
          </p:cNvPr>
          <p:cNvCxnSpPr>
            <a:cxnSpLocks/>
          </p:cNvCxnSpPr>
          <p:nvPr/>
        </p:nvCxnSpPr>
        <p:spPr>
          <a:xfrm>
            <a:off x="8000082" y="1070823"/>
            <a:ext cx="0" cy="3874775"/>
          </a:xfrm>
          <a:prstGeom prst="line">
            <a:avLst/>
          </a:prstGeom>
          <a:noFill/>
          <a:ln w="28575" cap="flat" cmpd="sng" algn="ctr">
            <a:solidFill>
              <a:srgbClr val="00338D"/>
            </a:solidFill>
            <a:prstDash val="dashDot"/>
            <a:miter lim="800000"/>
          </a:ln>
          <a:effectLst/>
        </p:spPr>
      </p:cxnSp>
      <p:sp>
        <p:nvSpPr>
          <p:cNvPr id="73" name="CasellaDiTesto 72">
            <a:extLst>
              <a:ext uri="{FF2B5EF4-FFF2-40B4-BE49-F238E27FC236}">
                <a16:creationId xmlns:a16="http://schemas.microsoft.com/office/drawing/2014/main" id="{7DD68EDB-55F3-E27D-B011-CFE003131A09}"/>
              </a:ext>
            </a:extLst>
          </p:cNvPr>
          <p:cNvSpPr txBox="1"/>
          <p:nvPr/>
        </p:nvSpPr>
        <p:spPr>
          <a:xfrm>
            <a:off x="8220199" y="2346638"/>
            <a:ext cx="3568685" cy="369332"/>
          </a:xfrm>
          <a:prstGeom prst="rect">
            <a:avLst/>
          </a:prstGeom>
          <a:noFill/>
        </p:spPr>
        <p:txBody>
          <a:bodyPr wrap="square">
            <a:spAutoFit/>
          </a:bodyPr>
          <a:lstStyle/>
          <a:p>
            <a:pPr marL="285750" indent="-285750" algn="just">
              <a:buFont typeface="Wingdings" panose="05000000000000000000" pitchFamily="2" charset="2"/>
              <a:buChar char="Ø"/>
            </a:pPr>
            <a:r>
              <a:rPr lang="it-IT" sz="1800" dirty="0">
                <a:solidFill>
                  <a:srgbClr val="00396F"/>
                </a:solidFill>
              </a:rPr>
              <a:t>xxx</a:t>
            </a:r>
            <a:endParaRPr lang="en-US" sz="1800" dirty="0">
              <a:solidFill>
                <a:srgbClr val="00396F"/>
              </a:solidFill>
            </a:endParaRPr>
          </a:p>
        </p:txBody>
      </p:sp>
      <p:cxnSp>
        <p:nvCxnSpPr>
          <p:cNvPr id="91" name="Straight Connector 3">
            <a:extLst>
              <a:ext uri="{FF2B5EF4-FFF2-40B4-BE49-F238E27FC236}">
                <a16:creationId xmlns:a16="http://schemas.microsoft.com/office/drawing/2014/main" id="{47181F9E-A62D-E0B4-94F8-3F34C2C1BC29}"/>
              </a:ext>
            </a:extLst>
          </p:cNvPr>
          <p:cNvCxnSpPr>
            <a:cxnSpLocks/>
          </p:cNvCxnSpPr>
          <p:nvPr/>
        </p:nvCxnSpPr>
        <p:spPr>
          <a:xfrm>
            <a:off x="292115" y="4945598"/>
            <a:ext cx="11798285" cy="0"/>
          </a:xfrm>
          <a:prstGeom prst="line">
            <a:avLst/>
          </a:prstGeom>
          <a:ln w="28575">
            <a:solidFill>
              <a:srgbClr val="00338D"/>
            </a:solidFill>
          </a:ln>
        </p:spPr>
        <p:style>
          <a:lnRef idx="1">
            <a:schemeClr val="accent1"/>
          </a:lnRef>
          <a:fillRef idx="0">
            <a:schemeClr val="accent1"/>
          </a:fillRef>
          <a:effectRef idx="0">
            <a:schemeClr val="accent1"/>
          </a:effectRef>
          <a:fontRef idx="minor">
            <a:schemeClr val="tx1"/>
          </a:fontRef>
        </p:style>
      </p:cxnSp>
      <p:grpSp>
        <p:nvGrpSpPr>
          <p:cNvPr id="76" name="Gruppo 75">
            <a:extLst>
              <a:ext uri="{FF2B5EF4-FFF2-40B4-BE49-F238E27FC236}">
                <a16:creationId xmlns:a16="http://schemas.microsoft.com/office/drawing/2014/main" id="{B996FEA1-EE52-4BD9-5004-36C2CCF2C6C5}"/>
              </a:ext>
            </a:extLst>
          </p:cNvPr>
          <p:cNvGrpSpPr/>
          <p:nvPr/>
        </p:nvGrpSpPr>
        <p:grpSpPr>
          <a:xfrm>
            <a:off x="5804398" y="4748553"/>
            <a:ext cx="374954" cy="367757"/>
            <a:chOff x="9827656" y="3663157"/>
            <a:chExt cx="374954" cy="367757"/>
          </a:xfrm>
        </p:grpSpPr>
        <p:sp>
          <p:nvSpPr>
            <p:cNvPr id="77" name="Ovale 76">
              <a:extLst>
                <a:ext uri="{FF2B5EF4-FFF2-40B4-BE49-F238E27FC236}">
                  <a16:creationId xmlns:a16="http://schemas.microsoft.com/office/drawing/2014/main" id="{84407EBF-D607-CC1C-7FEB-7B4068C014CE}"/>
                </a:ext>
              </a:extLst>
            </p:cNvPr>
            <p:cNvSpPr/>
            <p:nvPr/>
          </p:nvSpPr>
          <p:spPr>
            <a:xfrm>
              <a:off x="9827656" y="3663157"/>
              <a:ext cx="374954" cy="3677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pic>
          <p:nvPicPr>
            <p:cNvPr id="78" name="Google Shape;101;p19">
              <a:extLst>
                <a:ext uri="{FF2B5EF4-FFF2-40B4-BE49-F238E27FC236}">
                  <a16:creationId xmlns:a16="http://schemas.microsoft.com/office/drawing/2014/main" id="{0C471EEA-9E3F-B18E-A581-854E759E7AD7}"/>
                </a:ext>
              </a:extLst>
            </p:cNvPr>
            <p:cNvPicPr preferRelativeResize="0"/>
            <p:nvPr/>
          </p:nvPicPr>
          <p:blipFill>
            <a:blip r:embed="rId6">
              <a:clrChange>
                <a:clrFrom>
                  <a:srgbClr val="FFFFFF"/>
                </a:clrFrom>
                <a:clrTo>
                  <a:srgbClr val="FFFFFF">
                    <a:alpha val="0"/>
                  </a:srgbClr>
                </a:clrTo>
              </a:clrChange>
              <a:alphaModFix/>
            </a:blip>
            <a:stretch>
              <a:fillRect/>
            </a:stretch>
          </p:blipFill>
          <p:spPr>
            <a:xfrm>
              <a:off x="9912756" y="3730850"/>
              <a:ext cx="202759" cy="232370"/>
            </a:xfrm>
            <a:prstGeom prst="rect">
              <a:avLst/>
            </a:prstGeom>
            <a:noFill/>
            <a:ln>
              <a:noFill/>
            </a:ln>
          </p:spPr>
        </p:pic>
      </p:grpSp>
    </p:spTree>
    <p:extLst>
      <p:ext uri="{BB962C8B-B14F-4D97-AF65-F5344CB8AC3E}">
        <p14:creationId xmlns:p14="http://schemas.microsoft.com/office/powerpoint/2010/main" val="1317534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2D4A03-03E5-40F6-7159-C1EEBACB0C0D}"/>
            </a:ext>
          </a:extLst>
        </p:cNvPr>
        <p:cNvGrpSpPr/>
        <p:nvPr/>
      </p:nvGrpSpPr>
      <p:grpSpPr>
        <a:xfrm>
          <a:off x="0" y="0"/>
          <a:ext cx="0" cy="0"/>
          <a:chOff x="0" y="0"/>
          <a:chExt cx="0" cy="0"/>
        </a:xfrm>
      </p:grpSpPr>
      <p:sp>
        <p:nvSpPr>
          <p:cNvPr id="12" name="Rectangle: Rounded Corners 113">
            <a:extLst>
              <a:ext uri="{FF2B5EF4-FFF2-40B4-BE49-F238E27FC236}">
                <a16:creationId xmlns:a16="http://schemas.microsoft.com/office/drawing/2014/main" id="{66DAF50F-BFA2-51A0-F986-5CF8D0B75EA5}"/>
              </a:ext>
            </a:extLst>
          </p:cNvPr>
          <p:cNvSpPr/>
          <p:nvPr/>
        </p:nvSpPr>
        <p:spPr>
          <a:xfrm>
            <a:off x="8100628" y="2181187"/>
            <a:ext cx="3693199" cy="2549016"/>
          </a:xfrm>
          <a:prstGeom prst="roundRect">
            <a:avLst>
              <a:gd name="adj" fmla="val 4542"/>
            </a:avLst>
          </a:prstGeom>
          <a:solidFill>
            <a:schemeClr val="bg1"/>
          </a:solidFill>
          <a:ln w="19050">
            <a:solidFill>
              <a:srgbClr val="2E75B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13" name="Rectangle: Rounded Corners 113">
            <a:extLst>
              <a:ext uri="{FF2B5EF4-FFF2-40B4-BE49-F238E27FC236}">
                <a16:creationId xmlns:a16="http://schemas.microsoft.com/office/drawing/2014/main" id="{35A53AEB-1576-1B2A-2212-1ADDEA12C76F}"/>
              </a:ext>
            </a:extLst>
          </p:cNvPr>
          <p:cNvSpPr/>
          <p:nvPr/>
        </p:nvSpPr>
        <p:spPr>
          <a:xfrm>
            <a:off x="4146953" y="2201828"/>
            <a:ext cx="3693199" cy="2528376"/>
          </a:xfrm>
          <a:prstGeom prst="roundRect">
            <a:avLst>
              <a:gd name="adj" fmla="val 4542"/>
            </a:avLst>
          </a:prstGeom>
          <a:solidFill>
            <a:schemeClr val="bg1"/>
          </a:solidFill>
          <a:ln w="19050">
            <a:solidFill>
              <a:srgbClr val="4472C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14" name="Rectangle: Rounded Corners 113">
            <a:extLst>
              <a:ext uri="{FF2B5EF4-FFF2-40B4-BE49-F238E27FC236}">
                <a16:creationId xmlns:a16="http://schemas.microsoft.com/office/drawing/2014/main" id="{F4C8DE55-B7F4-9AD1-403F-918D0346B176}"/>
              </a:ext>
            </a:extLst>
          </p:cNvPr>
          <p:cNvSpPr/>
          <p:nvPr/>
        </p:nvSpPr>
        <p:spPr>
          <a:xfrm>
            <a:off x="167597" y="2201828"/>
            <a:ext cx="3693199" cy="2481437"/>
          </a:xfrm>
          <a:prstGeom prst="roundRect">
            <a:avLst>
              <a:gd name="adj" fmla="val 4542"/>
            </a:avLst>
          </a:prstGeom>
          <a:solidFill>
            <a:schemeClr val="bg1"/>
          </a:solidFill>
          <a:ln w="19050">
            <a:solidFill>
              <a:srgbClr val="00396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a:solidFill>
                <a:schemeClr val="bg1"/>
              </a:solidFill>
              <a:latin typeface="+mj-lt"/>
            </a:endParaRPr>
          </a:p>
        </p:txBody>
      </p:sp>
      <p:sp>
        <p:nvSpPr>
          <p:cNvPr id="15" name="Rectangle 8">
            <a:extLst>
              <a:ext uri="{FF2B5EF4-FFF2-40B4-BE49-F238E27FC236}">
                <a16:creationId xmlns:a16="http://schemas.microsoft.com/office/drawing/2014/main" id="{5934065C-FF38-9A21-B86D-48DB7EBBEF5D}"/>
              </a:ext>
            </a:extLst>
          </p:cNvPr>
          <p:cNvSpPr/>
          <p:nvPr/>
        </p:nvSpPr>
        <p:spPr>
          <a:xfrm>
            <a:off x="1068457" y="1070823"/>
            <a:ext cx="2016000" cy="864000"/>
          </a:xfrm>
          <a:prstGeom prst="roundRect">
            <a:avLst/>
          </a:prstGeom>
          <a:solidFill>
            <a:schemeClr val="accent1">
              <a:lumMod val="50000"/>
            </a:schemeClr>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lang="en-GB" sz="2400" b="1" kern="0" dirty="0">
                <a:solidFill>
                  <a:srgbClr val="FFFFFF"/>
                </a:solidFill>
              </a:rPr>
              <a:t>Objective</a:t>
            </a:r>
            <a:endParaRPr kumimoji="0" lang="en-GB" sz="2400" b="1" i="0" u="none" strike="noStrike" kern="0" cap="none" spc="0" normalizeH="0" baseline="0" noProof="0" dirty="0">
              <a:ln>
                <a:noFill/>
              </a:ln>
              <a:solidFill>
                <a:srgbClr val="FFFFFF"/>
              </a:solidFill>
              <a:effectLst/>
              <a:uLnTx/>
              <a:uFillTx/>
              <a:ea typeface="+mn-ea"/>
              <a:cs typeface="+mn-cs"/>
            </a:endParaRPr>
          </a:p>
        </p:txBody>
      </p:sp>
      <p:sp>
        <p:nvSpPr>
          <p:cNvPr id="16" name="Rectangle 8">
            <a:extLst>
              <a:ext uri="{FF2B5EF4-FFF2-40B4-BE49-F238E27FC236}">
                <a16:creationId xmlns:a16="http://schemas.microsoft.com/office/drawing/2014/main" id="{C735B2C7-908D-A64F-F574-4BA240F5FC12}"/>
              </a:ext>
            </a:extLst>
          </p:cNvPr>
          <p:cNvSpPr/>
          <p:nvPr/>
        </p:nvSpPr>
        <p:spPr>
          <a:xfrm>
            <a:off x="4983875" y="1070823"/>
            <a:ext cx="2016000" cy="864000"/>
          </a:xfrm>
          <a:prstGeom prst="roundRect">
            <a:avLst/>
          </a:prstGeom>
          <a:solidFill>
            <a:schemeClr val="accent1"/>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lang="en-GB" sz="2400" b="1" kern="0" dirty="0">
                <a:solidFill>
                  <a:srgbClr val="FFFFFF"/>
                </a:solidFill>
              </a:rPr>
              <a:t>Advantages</a:t>
            </a:r>
            <a:endParaRPr kumimoji="0" lang="en-GB" sz="2400" b="1" i="0" u="none" strike="noStrike" kern="0" cap="none" spc="0" normalizeH="0" baseline="0" noProof="0" dirty="0">
              <a:ln>
                <a:noFill/>
              </a:ln>
              <a:solidFill>
                <a:srgbClr val="FFFFFF"/>
              </a:solidFill>
              <a:effectLst/>
              <a:uLnTx/>
              <a:uFillTx/>
              <a:ea typeface="+mn-ea"/>
              <a:cs typeface="+mn-cs"/>
            </a:endParaRPr>
          </a:p>
        </p:txBody>
      </p:sp>
      <p:sp>
        <p:nvSpPr>
          <p:cNvPr id="17" name="Rectangle 8">
            <a:extLst>
              <a:ext uri="{FF2B5EF4-FFF2-40B4-BE49-F238E27FC236}">
                <a16:creationId xmlns:a16="http://schemas.microsoft.com/office/drawing/2014/main" id="{CEB143E2-C91D-C9B6-21B6-CAF360329197}"/>
              </a:ext>
            </a:extLst>
          </p:cNvPr>
          <p:cNvSpPr/>
          <p:nvPr/>
        </p:nvSpPr>
        <p:spPr>
          <a:xfrm>
            <a:off x="8904756" y="1070823"/>
            <a:ext cx="2016000" cy="864000"/>
          </a:xfrm>
          <a:prstGeom prst="roundRect">
            <a:avLst/>
          </a:prstGeom>
          <a:solidFill>
            <a:schemeClr val="accent5">
              <a:lumMod val="75000"/>
            </a:schemeClr>
          </a:solidFill>
          <a:ln w="12700" cap="flat" cmpd="sng" algn="ctr">
            <a:noFill/>
            <a:prstDash val="solid"/>
            <a:miter lim="800000"/>
          </a:ln>
          <a:effectLst/>
        </p:spPr>
        <p:txBody>
          <a:bodyPr lIns="180000" tIns="180000" rIns="180000" bIns="180000" rtlCol="0" anchor="ctr" anchorCtr="0"/>
          <a:lstStyle/>
          <a:p>
            <a:pPr marL="0" marR="0" lvl="0" indent="0" algn="ctr" defTabSz="914400" eaLnBrk="1" fontAlgn="auto" latinLnBrk="0" hangingPunct="1">
              <a:lnSpc>
                <a:spcPct val="70000"/>
              </a:lnSpc>
              <a:spcBef>
                <a:spcPts val="0"/>
              </a:spcBef>
              <a:spcAft>
                <a:spcPts val="600"/>
              </a:spcAft>
              <a:buClrTx/>
              <a:buSzTx/>
              <a:buFontTx/>
              <a:buNone/>
              <a:tabLst/>
              <a:defRPr/>
            </a:pPr>
            <a:r>
              <a:rPr kumimoji="0" lang="en-GB" sz="2400" b="1" i="0" u="none" strike="noStrike" kern="0" cap="none" spc="0" normalizeH="0" baseline="0" noProof="0" dirty="0">
                <a:ln>
                  <a:noFill/>
                </a:ln>
                <a:solidFill>
                  <a:srgbClr val="FFFFFF"/>
                </a:solidFill>
                <a:effectLst/>
                <a:uLnTx/>
                <a:uFillTx/>
                <a:ea typeface="+mn-ea"/>
                <a:cs typeface="+mn-cs"/>
              </a:rPr>
              <a:t>Result</a:t>
            </a:r>
          </a:p>
        </p:txBody>
      </p:sp>
      <p:graphicFrame>
        <p:nvGraphicFramePr>
          <p:cNvPr id="2" name="Object 1" hidden="1">
            <a:extLst>
              <a:ext uri="{FF2B5EF4-FFF2-40B4-BE49-F238E27FC236}">
                <a16:creationId xmlns:a16="http://schemas.microsoft.com/office/drawing/2014/main" id="{57F2FB92-F5D8-35DE-923E-2C60E2AE59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1" imgH="272" progId="TCLayout.ActiveDocument.1">
                  <p:embed/>
                </p:oleObj>
              </mc:Choice>
              <mc:Fallback>
                <p:oleObj name="think-cell Slide" r:id="rId3" imgW="271" imgH="272" progId="TCLayout.ActiveDocument.1">
                  <p:embed/>
                  <p:pic>
                    <p:nvPicPr>
                      <p:cNvPr id="2" name="Object 1" hidden="1">
                        <a:extLst>
                          <a:ext uri="{FF2B5EF4-FFF2-40B4-BE49-F238E27FC236}">
                            <a16:creationId xmlns:a16="http://schemas.microsoft.com/office/drawing/2014/main" id="{57F2FB92-F5D8-35DE-923E-2C60E2AE5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 descr="logo-luiss - Borghese Executive Suite B&amp;b e Guest house">
            <a:extLst>
              <a:ext uri="{FF2B5EF4-FFF2-40B4-BE49-F238E27FC236}">
                <a16:creationId xmlns:a16="http://schemas.microsoft.com/office/drawing/2014/main" id="{974EE529-17B4-1D64-F4BB-11806908C88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0" y="6188393"/>
            <a:ext cx="1566333" cy="66960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6">
            <a:extLst>
              <a:ext uri="{FF2B5EF4-FFF2-40B4-BE49-F238E27FC236}">
                <a16:creationId xmlns:a16="http://schemas.microsoft.com/office/drawing/2014/main" id="{E670F2EE-0F99-9431-B1C9-3C80F95FA4F2}"/>
              </a:ext>
            </a:extLst>
          </p:cNvPr>
          <p:cNvSpPr>
            <a:spLocks noGrp="1"/>
          </p:cNvSpPr>
          <p:nvPr>
            <p:ph type="sldNum" sz="quarter" idx="12"/>
          </p:nvPr>
        </p:nvSpPr>
        <p:spPr>
          <a:xfrm>
            <a:off x="9267825" y="6356348"/>
            <a:ext cx="2743200" cy="365125"/>
          </a:xfrm>
        </p:spPr>
        <p:txBody>
          <a:bodyPr/>
          <a:lstStyle/>
          <a:p>
            <a:fld id="{3AC94FBC-2F94-445B-A535-2F7BBCAA984B}" type="slidenum">
              <a:rPr lang="en-GB" sz="1400" smtClean="0">
                <a:solidFill>
                  <a:srgbClr val="00396F"/>
                </a:solidFill>
                <a:latin typeface="Abadi" panose="020B0604020104020204" pitchFamily="34" charset="0"/>
              </a:rPr>
              <a:t>9</a:t>
            </a:fld>
            <a:endParaRPr lang="en-GB" dirty="0">
              <a:solidFill>
                <a:srgbClr val="00396F"/>
              </a:solidFill>
              <a:latin typeface="Abadi" panose="020B0604020104020204" pitchFamily="34" charset="0"/>
            </a:endParaRPr>
          </a:p>
        </p:txBody>
      </p:sp>
      <p:sp>
        <p:nvSpPr>
          <p:cNvPr id="4" name="Title 2">
            <a:extLst>
              <a:ext uri="{FF2B5EF4-FFF2-40B4-BE49-F238E27FC236}">
                <a16:creationId xmlns:a16="http://schemas.microsoft.com/office/drawing/2014/main" id="{86D61347-C5FF-B872-10AB-74CBE5B3246F}"/>
              </a:ext>
            </a:extLst>
          </p:cNvPr>
          <p:cNvSpPr txBox="1">
            <a:spLocks/>
          </p:cNvSpPr>
          <p:nvPr/>
        </p:nvSpPr>
        <p:spPr>
          <a:xfrm>
            <a:off x="167597" y="176229"/>
            <a:ext cx="9100228" cy="478147"/>
          </a:xfrm>
          <a:prstGeom prst="rect">
            <a:avLst/>
          </a:prstGeom>
        </p:spPr>
        <p:txBody>
          <a:bodyPr lIns="0" tIns="0" rIns="0" bIns="0"/>
          <a:lstStyle>
            <a:lvl1pPr algn="l" defTabSz="914400" rtl="0" eaLnBrk="1" latinLnBrk="0" hangingPunct="1">
              <a:lnSpc>
                <a:spcPct val="90000"/>
              </a:lnSpc>
              <a:spcBef>
                <a:spcPct val="0"/>
              </a:spcBef>
              <a:buNone/>
              <a:defRPr lang="it-IT" sz="4000" b="1" kern="1200" dirty="0">
                <a:solidFill>
                  <a:srgbClr val="005CA7"/>
                </a:solidFill>
                <a:latin typeface="Arial" panose="020B0604020202020204" pitchFamily="34" charset="0"/>
                <a:ea typeface="ＭＳ Ｐゴシック" pitchFamily="-112" charset="-128"/>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00396F"/>
                </a:solidFill>
              </a:rPr>
              <a:t>Experiments (2/2)</a:t>
            </a:r>
            <a:endParaRPr lang="it-IT" sz="3200" dirty="0">
              <a:solidFill>
                <a:srgbClr val="00396F"/>
              </a:solidFill>
            </a:endParaRPr>
          </a:p>
        </p:txBody>
      </p:sp>
      <p:sp>
        <p:nvSpPr>
          <p:cNvPr id="52" name="CasellaDiTesto 51">
            <a:extLst>
              <a:ext uri="{FF2B5EF4-FFF2-40B4-BE49-F238E27FC236}">
                <a16:creationId xmlns:a16="http://schemas.microsoft.com/office/drawing/2014/main" id="{0797BA31-2C5B-9998-F2D6-4E06F74E0C77}"/>
              </a:ext>
            </a:extLst>
          </p:cNvPr>
          <p:cNvSpPr txBox="1"/>
          <p:nvPr/>
        </p:nvSpPr>
        <p:spPr>
          <a:xfrm>
            <a:off x="167597" y="2269674"/>
            <a:ext cx="3568685" cy="1200329"/>
          </a:xfrm>
          <a:prstGeom prst="rect">
            <a:avLst/>
          </a:prstGeom>
          <a:noFill/>
        </p:spPr>
        <p:txBody>
          <a:bodyPr wrap="square">
            <a:spAutoFit/>
          </a:bodyPr>
          <a:lstStyle/>
          <a:p>
            <a:pPr marL="285750" indent="-285750" algn="just">
              <a:buFont typeface="Wingdings" panose="05000000000000000000" pitchFamily="2" charset="2"/>
              <a:buChar char="Ø"/>
            </a:pPr>
            <a:r>
              <a:rPr lang="it-IT" dirty="0">
                <a:solidFill>
                  <a:srgbClr val="00396F"/>
                </a:solidFill>
              </a:rPr>
              <a:t>Affrontare la </a:t>
            </a:r>
            <a:r>
              <a:rPr lang="it-IT" b="1" dirty="0">
                <a:solidFill>
                  <a:srgbClr val="00396F"/>
                </a:solidFill>
              </a:rPr>
              <a:t>sensibilità</a:t>
            </a:r>
            <a:r>
              <a:rPr lang="it-IT" dirty="0">
                <a:solidFill>
                  <a:srgbClr val="00396F"/>
                </a:solidFill>
              </a:rPr>
              <a:t> del modello DTCA al </a:t>
            </a:r>
            <a:r>
              <a:rPr lang="it-IT" b="1" dirty="0">
                <a:solidFill>
                  <a:srgbClr val="00396F"/>
                </a:solidFill>
              </a:rPr>
              <a:t>rumore</a:t>
            </a:r>
            <a:r>
              <a:rPr lang="it-IT" dirty="0">
                <a:solidFill>
                  <a:srgbClr val="00396F"/>
                </a:solidFill>
              </a:rPr>
              <a:t> nei dati di input, che compromette la </a:t>
            </a:r>
            <a:r>
              <a:rPr lang="it-IT" b="1" dirty="0">
                <a:solidFill>
                  <a:srgbClr val="00396F"/>
                </a:solidFill>
              </a:rPr>
              <a:t>precisione</a:t>
            </a:r>
            <a:r>
              <a:rPr lang="it-IT" dirty="0">
                <a:solidFill>
                  <a:srgbClr val="00396F"/>
                </a:solidFill>
              </a:rPr>
              <a:t> delle sue previsioni.</a:t>
            </a:r>
            <a:endParaRPr lang="en-US" sz="1800" dirty="0">
              <a:solidFill>
                <a:srgbClr val="00396F"/>
              </a:solidFill>
            </a:endParaRPr>
          </a:p>
        </p:txBody>
      </p:sp>
      <p:sp>
        <p:nvSpPr>
          <p:cNvPr id="73" name="CasellaDiTesto 72">
            <a:extLst>
              <a:ext uri="{FF2B5EF4-FFF2-40B4-BE49-F238E27FC236}">
                <a16:creationId xmlns:a16="http://schemas.microsoft.com/office/drawing/2014/main" id="{7DD68EDB-55F3-E27D-B011-CFE003131A09}"/>
              </a:ext>
            </a:extLst>
          </p:cNvPr>
          <p:cNvSpPr txBox="1"/>
          <p:nvPr/>
        </p:nvSpPr>
        <p:spPr>
          <a:xfrm>
            <a:off x="8162884" y="2234887"/>
            <a:ext cx="3568685" cy="1200329"/>
          </a:xfrm>
          <a:prstGeom prst="rect">
            <a:avLst/>
          </a:prstGeom>
          <a:noFill/>
        </p:spPr>
        <p:txBody>
          <a:bodyPr wrap="square">
            <a:spAutoFit/>
          </a:bodyPr>
          <a:lstStyle/>
          <a:p>
            <a:pPr marL="285750" marR="0" lvl="0" indent="-285750" algn="just"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lang="it-IT" dirty="0">
                <a:solidFill>
                  <a:srgbClr val="00396F"/>
                </a:solidFill>
              </a:rPr>
              <a:t>L'approccio ha reso il modello DTCA più </a:t>
            </a:r>
            <a:r>
              <a:rPr lang="it-IT" b="1" dirty="0">
                <a:solidFill>
                  <a:srgbClr val="00396F"/>
                </a:solidFill>
              </a:rPr>
              <a:t>accurato</a:t>
            </a:r>
            <a:r>
              <a:rPr lang="it-IT" dirty="0">
                <a:solidFill>
                  <a:srgbClr val="00396F"/>
                </a:solidFill>
              </a:rPr>
              <a:t> e </a:t>
            </a:r>
            <a:r>
              <a:rPr lang="it-IT" b="1" dirty="0">
                <a:solidFill>
                  <a:srgbClr val="00396F"/>
                </a:solidFill>
              </a:rPr>
              <a:t>affidabile</a:t>
            </a:r>
            <a:r>
              <a:rPr lang="it-IT" dirty="0">
                <a:solidFill>
                  <a:srgbClr val="00396F"/>
                </a:solidFill>
              </a:rPr>
              <a:t>, con la nuova versione che ha ottenuto </a:t>
            </a:r>
            <a:r>
              <a:rPr lang="it-IT" b="1" dirty="0">
                <a:solidFill>
                  <a:srgbClr val="00396F"/>
                </a:solidFill>
              </a:rPr>
              <a:t>prestazioni migliorate</a:t>
            </a:r>
            <a:r>
              <a:rPr lang="it-IT" dirty="0">
                <a:solidFill>
                  <a:srgbClr val="00396F"/>
                </a:solidFill>
              </a:rPr>
              <a:t>.</a:t>
            </a:r>
            <a:endParaRPr kumimoji="0" lang="en-US" altLang="en-US" sz="1800" i="0" u="none" strike="noStrike" cap="none" normalizeH="0" baseline="0" dirty="0">
              <a:ln>
                <a:noFill/>
              </a:ln>
              <a:solidFill>
                <a:srgbClr val="00396F"/>
              </a:solidFill>
              <a:effectLst/>
            </a:endParaRPr>
          </a:p>
        </p:txBody>
      </p:sp>
      <p:cxnSp>
        <p:nvCxnSpPr>
          <p:cNvPr id="7" name="Straight Connector 3">
            <a:extLst>
              <a:ext uri="{FF2B5EF4-FFF2-40B4-BE49-F238E27FC236}">
                <a16:creationId xmlns:a16="http://schemas.microsoft.com/office/drawing/2014/main" id="{87D23739-9AEC-463C-2492-19034BDE42C5}"/>
              </a:ext>
            </a:extLst>
          </p:cNvPr>
          <p:cNvCxnSpPr>
            <a:cxnSpLocks/>
          </p:cNvCxnSpPr>
          <p:nvPr/>
        </p:nvCxnSpPr>
        <p:spPr>
          <a:xfrm>
            <a:off x="292115" y="4945598"/>
            <a:ext cx="11798285" cy="0"/>
          </a:xfrm>
          <a:prstGeom prst="line">
            <a:avLst/>
          </a:prstGeom>
          <a:ln w="28575">
            <a:solidFill>
              <a:srgbClr val="00338D"/>
            </a:solidFill>
          </a:ln>
        </p:spPr>
        <p:style>
          <a:lnRef idx="1">
            <a:schemeClr val="accent1"/>
          </a:lnRef>
          <a:fillRef idx="0">
            <a:schemeClr val="accent1"/>
          </a:fillRef>
          <a:effectRef idx="0">
            <a:schemeClr val="accent1"/>
          </a:effectRef>
          <a:fontRef idx="minor">
            <a:schemeClr val="tx1"/>
          </a:fontRef>
        </p:style>
      </p:cxnSp>
      <p:sp>
        <p:nvSpPr>
          <p:cNvPr id="9" name="Ovale 8">
            <a:extLst>
              <a:ext uri="{FF2B5EF4-FFF2-40B4-BE49-F238E27FC236}">
                <a16:creationId xmlns:a16="http://schemas.microsoft.com/office/drawing/2014/main" id="{2E2962BC-06CD-D1E4-6B8A-0C49EA2123DC}"/>
              </a:ext>
            </a:extLst>
          </p:cNvPr>
          <p:cNvSpPr/>
          <p:nvPr/>
        </p:nvSpPr>
        <p:spPr>
          <a:xfrm>
            <a:off x="5804398" y="4761720"/>
            <a:ext cx="374954" cy="36775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pic>
        <p:nvPicPr>
          <p:cNvPr id="5" name="Google Shape;99;p19">
            <a:extLst>
              <a:ext uri="{FF2B5EF4-FFF2-40B4-BE49-F238E27FC236}">
                <a16:creationId xmlns:a16="http://schemas.microsoft.com/office/drawing/2014/main" id="{A6E510BF-6BAF-8F51-8C38-E9C498ED717D}"/>
              </a:ext>
            </a:extLst>
          </p:cNvPr>
          <p:cNvPicPr preferRelativeResize="0"/>
          <p:nvPr/>
        </p:nvPicPr>
        <p:blipFill>
          <a:blip r:embed="rId6">
            <a:clrChange>
              <a:clrFrom>
                <a:srgbClr val="FFFFFF"/>
              </a:clrFrom>
              <a:clrTo>
                <a:srgbClr val="FFFFFF">
                  <a:alpha val="0"/>
                </a:srgbClr>
              </a:clrTo>
            </a:clrChange>
            <a:alphaModFix/>
          </a:blip>
          <a:stretch>
            <a:fillRect/>
          </a:stretch>
        </p:blipFill>
        <p:spPr>
          <a:xfrm>
            <a:off x="5904798" y="4829413"/>
            <a:ext cx="172157" cy="212058"/>
          </a:xfrm>
          <a:prstGeom prst="rect">
            <a:avLst/>
          </a:prstGeom>
          <a:noFill/>
          <a:ln>
            <a:noFill/>
          </a:ln>
        </p:spPr>
      </p:pic>
      <p:sp>
        <p:nvSpPr>
          <p:cNvPr id="19" name="Rectangle: Rounded Corners 72">
            <a:extLst>
              <a:ext uri="{FF2B5EF4-FFF2-40B4-BE49-F238E27FC236}">
                <a16:creationId xmlns:a16="http://schemas.microsoft.com/office/drawing/2014/main" id="{556427D6-3996-4A16-E9BA-1202E9DE16C1}"/>
              </a:ext>
            </a:extLst>
          </p:cNvPr>
          <p:cNvSpPr/>
          <p:nvPr/>
        </p:nvSpPr>
        <p:spPr>
          <a:xfrm>
            <a:off x="3307257" y="5179686"/>
            <a:ext cx="5539393" cy="1589682"/>
          </a:xfrm>
          <a:prstGeom prst="roundRect">
            <a:avLst>
              <a:gd name="adj" fmla="val 3683"/>
            </a:avLst>
          </a:prstGeom>
          <a:solidFill>
            <a:schemeClr val="bg1"/>
          </a:solidFill>
          <a:ln w="19050">
            <a:solidFill>
              <a:srgbClr val="00338D"/>
            </a:solidFill>
            <a:prstDash val="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pic>
        <p:nvPicPr>
          <p:cNvPr id="20" name="Immagine 19" descr="Immagine che contiene testo, Carattere, numero, schermata&#10;&#10;Descrizione generata automaticamente">
            <a:extLst>
              <a:ext uri="{FF2B5EF4-FFF2-40B4-BE49-F238E27FC236}">
                <a16:creationId xmlns:a16="http://schemas.microsoft.com/office/drawing/2014/main" id="{669B29BA-40BA-B055-7819-6C8ED09656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64850" y="5310130"/>
            <a:ext cx="5224209" cy="1347843"/>
          </a:xfrm>
          <a:prstGeom prst="rect">
            <a:avLst/>
          </a:prstGeom>
        </p:spPr>
      </p:pic>
      <p:cxnSp>
        <p:nvCxnSpPr>
          <p:cNvPr id="21" name="Straight Connector 4">
            <a:extLst>
              <a:ext uri="{FF2B5EF4-FFF2-40B4-BE49-F238E27FC236}">
                <a16:creationId xmlns:a16="http://schemas.microsoft.com/office/drawing/2014/main" id="{04CFF6CA-8B98-9EB3-1C5E-11843978879F}"/>
              </a:ext>
            </a:extLst>
          </p:cNvPr>
          <p:cNvCxnSpPr>
            <a:cxnSpLocks/>
          </p:cNvCxnSpPr>
          <p:nvPr/>
        </p:nvCxnSpPr>
        <p:spPr>
          <a:xfrm>
            <a:off x="4027257" y="1070823"/>
            <a:ext cx="0" cy="3874775"/>
          </a:xfrm>
          <a:prstGeom prst="line">
            <a:avLst/>
          </a:prstGeom>
          <a:noFill/>
          <a:ln w="28575" cap="flat" cmpd="sng" algn="ctr">
            <a:solidFill>
              <a:srgbClr val="00338D"/>
            </a:solidFill>
            <a:prstDash val="dashDot"/>
            <a:miter lim="800000"/>
          </a:ln>
          <a:effectLst/>
        </p:spPr>
      </p:cxnSp>
      <p:cxnSp>
        <p:nvCxnSpPr>
          <p:cNvPr id="22" name="Straight Connector 4">
            <a:extLst>
              <a:ext uri="{FF2B5EF4-FFF2-40B4-BE49-F238E27FC236}">
                <a16:creationId xmlns:a16="http://schemas.microsoft.com/office/drawing/2014/main" id="{81CE4403-584D-70B7-E1EE-2BFE73897476}"/>
              </a:ext>
            </a:extLst>
          </p:cNvPr>
          <p:cNvCxnSpPr>
            <a:cxnSpLocks/>
          </p:cNvCxnSpPr>
          <p:nvPr/>
        </p:nvCxnSpPr>
        <p:spPr>
          <a:xfrm>
            <a:off x="8000082" y="1070823"/>
            <a:ext cx="0" cy="3874775"/>
          </a:xfrm>
          <a:prstGeom prst="line">
            <a:avLst/>
          </a:prstGeom>
          <a:noFill/>
          <a:ln w="28575" cap="flat" cmpd="sng" algn="ctr">
            <a:solidFill>
              <a:srgbClr val="00338D"/>
            </a:solidFill>
            <a:prstDash val="dashDot"/>
            <a:miter lim="800000"/>
          </a:ln>
          <a:effectLst/>
        </p:spPr>
      </p:cxnSp>
      <p:sp>
        <p:nvSpPr>
          <p:cNvPr id="6" name="CasellaDiTesto 5">
            <a:extLst>
              <a:ext uri="{FF2B5EF4-FFF2-40B4-BE49-F238E27FC236}">
                <a16:creationId xmlns:a16="http://schemas.microsoft.com/office/drawing/2014/main" id="{89507E2D-6D2E-EF7A-8ACE-D512626BF8C6}"/>
              </a:ext>
            </a:extLst>
          </p:cNvPr>
          <p:cNvSpPr txBox="1"/>
          <p:nvPr/>
        </p:nvSpPr>
        <p:spPr>
          <a:xfrm>
            <a:off x="4312951" y="2321465"/>
            <a:ext cx="3357848" cy="2308324"/>
          </a:xfrm>
          <a:prstGeom prst="rect">
            <a:avLst/>
          </a:prstGeom>
          <a:noFill/>
        </p:spPr>
        <p:txBody>
          <a:bodyPr wrap="square">
            <a:spAutoFit/>
          </a:bodyPr>
          <a:lstStyle/>
          <a:p>
            <a:pPr marL="285750" marR="0" lvl="0" indent="-285750" algn="just"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lang="it-IT" dirty="0">
                <a:solidFill>
                  <a:srgbClr val="00396F"/>
                </a:solidFill>
              </a:rPr>
              <a:t>La </a:t>
            </a:r>
            <a:r>
              <a:rPr lang="it-IT" b="1" dirty="0">
                <a:solidFill>
                  <a:srgbClr val="00396F"/>
                </a:solidFill>
              </a:rPr>
              <a:t>data </a:t>
            </a:r>
            <a:r>
              <a:rPr lang="it-IT" b="1" dirty="0" err="1">
                <a:solidFill>
                  <a:srgbClr val="00396F"/>
                </a:solidFill>
              </a:rPr>
              <a:t>augmentation</a:t>
            </a:r>
            <a:r>
              <a:rPr lang="it-IT" dirty="0">
                <a:solidFill>
                  <a:srgbClr val="00396F"/>
                </a:solidFill>
              </a:rPr>
              <a:t> crea campioni artificiali applicando trasformazioni ai dati esistenti, migliorando la capacità del modello di generalizzare su nuovi dati e aumentando la sua stabilità e robustezza durante l'apprendimento.</a:t>
            </a:r>
            <a:endParaRPr kumimoji="0" lang="en-US" altLang="en-US" sz="1800" b="0" i="0" u="none" strike="noStrike" cap="none" normalizeH="0" baseline="0" dirty="0">
              <a:ln>
                <a:noFill/>
              </a:ln>
              <a:solidFill>
                <a:srgbClr val="00396F"/>
              </a:solidFill>
              <a:effectLst/>
            </a:endParaRPr>
          </a:p>
        </p:txBody>
      </p:sp>
    </p:spTree>
    <p:extLst>
      <p:ext uri="{BB962C8B-B14F-4D97-AF65-F5344CB8AC3E}">
        <p14:creationId xmlns:p14="http://schemas.microsoft.com/office/powerpoint/2010/main" val="1886579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UPSLIDESHAPELIBITEMID" val="dc3a7780-12cb-4720-b692-8293a5dfe606"/>
  <p:tag name="UPSLIDESHAPELIBITEMEDITIONDATE" val="637704293610428314"/>
  <p:tag name="UPSLIDESHAPELIBITEMLASTCREATOR" val="Nicola"/>
  <p:tag name="UPSLIDESHAPELIBITEMNAME" val="Arrows"/>
  <p:tag name="UPSLIDESTOREDSHAPELOCATION" val="https://arthurdlittle.sharepoint.com/sites/files/marketing/Upslide/Icons/Consulting Management/White.lib"/>
</p:tagLst>
</file>

<file path=ppt/tags/tag26.xml><?xml version="1.0" encoding="utf-8"?>
<p:tagLst xmlns:a="http://schemas.openxmlformats.org/drawingml/2006/main" xmlns:r="http://schemas.openxmlformats.org/officeDocument/2006/relationships" xmlns:p="http://schemas.openxmlformats.org/presentationml/2006/main">
  <p:tag name="UPSLIDESHAPELIBITEMID" val="9676b6e9-ebb4-4f45-ad4c-a1e1fd1e5e31"/>
  <p:tag name="UPSLIDESHAPELIBITEMEDITIONDATE" val="637704293679582174"/>
  <p:tag name="UPSLIDESHAPELIBITEMLASTCREATOR" val="Nicola"/>
  <p:tag name="UPSLIDESHAPELIBITEMNAME" val="Handshake/Agreement"/>
  <p:tag name="UPSLIDESTOREDSHAPELOCATION" val="https://arthurdlittle.sharepoint.com/sites/files/marketing/Upslide/Icons/Consulting Management/White.lib"/>
</p:tagLst>
</file>

<file path=ppt/tags/tag27.xml><?xml version="1.0" encoding="utf-8"?>
<p:tagLst xmlns:a="http://schemas.openxmlformats.org/drawingml/2006/main" xmlns:r="http://schemas.openxmlformats.org/officeDocument/2006/relationships" xmlns:p="http://schemas.openxmlformats.org/presentationml/2006/main">
  <p:tag name="UPSLIDESHAPELIBITEMID" val="953972f0-c1e0-479f-8183-a04f2268dfd7"/>
  <p:tag name="UPSLIDESHAPELIBITEMEDITIONDATE" val="637704293649369405"/>
  <p:tag name="UPSLIDESHAPELIBITEMLASTCREATOR" val="Nicola"/>
  <p:tag name="UPSLIDESHAPELIBITEMNAME" val="Decrease"/>
  <p:tag name="UPSLIDESTOREDSHAPELOCATION" val="https://arthurdlittle.sharepoint.com/sites/files/marketing/Upslide/Icons/Consulting Management/White.lib"/>
</p:tagLst>
</file>

<file path=ppt/tags/tag28.xml><?xml version="1.0" encoding="utf-8"?>
<p:tagLst xmlns:a="http://schemas.openxmlformats.org/drawingml/2006/main" xmlns:r="http://schemas.openxmlformats.org/officeDocument/2006/relationships" xmlns:p="http://schemas.openxmlformats.org/presentationml/2006/main">
  <p:tag name="UPSLIDESHAPELIBITEMID" val="f947d7f7-88e9-4cfb-ad2f-e21dc6147cbf"/>
  <p:tag name="UPSLIDESHAPELIBITEMEDITIONDATE" val="637704293621691890"/>
  <p:tag name="UPSLIDESHAPELIBITEMLASTCREATOR" val="Nicola"/>
  <p:tag name="UPSLIDESHAPELIBITEMNAME" val="Attention"/>
  <p:tag name="UPSLIDESTOREDSHAPELOCATION" val="https://arthurdlittle.sharepoint.com/sites/files/marketing/Upslide/Icons/Consulting Management/White.lib"/>
</p:tagLst>
</file>

<file path=ppt/tags/tag29.xml><?xml version="1.0" encoding="utf-8"?>
<p:tagLst xmlns:a="http://schemas.openxmlformats.org/drawingml/2006/main" xmlns:r="http://schemas.openxmlformats.org/officeDocument/2006/relationships" xmlns:p="http://schemas.openxmlformats.org/presentationml/2006/main">
  <p:tag name="UPSLIDESHAPELIBITEMID" val="3d1d1bc4-61c6-4aab-b829-0bcf28393c18"/>
  <p:tag name="UPSLIDESHAPELIBITEMEDITIONDATE" val="637704289439775387"/>
  <p:tag name="UPSLIDESHAPELIBITEMLASTCREATOR" val="Nicola"/>
  <p:tag name="UPSLIDESHAPELIBITEMNAME" val="Medal"/>
  <p:tag name="UPSLIDESTOREDSHAPELOCATION" val="https://arthurdlittle.sharepoint.com/sites/files/marketing/Upslide/Icons/Consulting Management/Blue.lib"/>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9fMOPDGQbKimySTQTwK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3919</TotalTime>
  <Words>2237</Words>
  <Application>Microsoft Macintosh PowerPoint</Application>
  <PresentationFormat>Widescreen</PresentationFormat>
  <Paragraphs>229</Paragraphs>
  <Slides>25</Slides>
  <Notes>1</Notes>
  <HiddenSlides>0</HiddenSlides>
  <MMClips>0</MMClips>
  <ScaleCrop>false</ScaleCrop>
  <HeadingPairs>
    <vt:vector size="8" baseType="variant">
      <vt:variant>
        <vt:lpstr>Caratteri utilizzati</vt:lpstr>
      </vt:variant>
      <vt:variant>
        <vt:i4>11</vt:i4>
      </vt:variant>
      <vt:variant>
        <vt:lpstr>Tema</vt:lpstr>
      </vt:variant>
      <vt:variant>
        <vt:i4>1</vt:i4>
      </vt:variant>
      <vt:variant>
        <vt:lpstr>Server OLE incorporati</vt:lpstr>
      </vt:variant>
      <vt:variant>
        <vt:i4>1</vt:i4>
      </vt:variant>
      <vt:variant>
        <vt:lpstr>Titoli diapositive</vt:lpstr>
      </vt:variant>
      <vt:variant>
        <vt:i4>25</vt:i4>
      </vt:variant>
    </vt:vector>
  </HeadingPairs>
  <TitlesOfParts>
    <vt:vector size="38" baseType="lpstr">
      <vt:lpstr>Abadi</vt:lpstr>
      <vt:lpstr>Aptos</vt:lpstr>
      <vt:lpstr>Arial</vt:lpstr>
      <vt:lpstr>Arial MT</vt:lpstr>
      <vt:lpstr>Calibri</vt:lpstr>
      <vt:lpstr>Calibri Light</vt:lpstr>
      <vt:lpstr>Gill Sans MT</vt:lpstr>
      <vt:lpstr>Helvetica Neue</vt:lpstr>
      <vt:lpstr>KPMG Bold</vt:lpstr>
      <vt:lpstr>Verdana</vt:lpstr>
      <vt:lpstr>Wingdings</vt:lpstr>
      <vt:lpstr>Office Theme</vt:lpstr>
      <vt:lpstr>think-cell Slide</vt:lpstr>
      <vt:lpstr>Luiss Guido Carli Department of Data Science and Management       Course of Machine Learning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genda     </vt:lpstr>
      <vt:lpstr>Presentazione standard di PowerPoint</vt:lpstr>
      <vt:lpstr>Research Question &amp; Methodology</vt:lpstr>
      <vt:lpstr>Open Innovation</vt:lpstr>
      <vt:lpstr>Crowdsourcing</vt:lpstr>
      <vt:lpstr>Crowdfunding</vt:lpstr>
      <vt:lpstr>Case Study: Hyperloop Transportation Technologies</vt:lpstr>
      <vt:lpstr>Case Study: Jump Start Fund</vt:lpstr>
      <vt:lpstr>Conclusions</vt:lpstr>
      <vt:lpstr>Limitations and future research</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iss Guido Carli Department of Business and Management      14 November 2022 Course of Organizational Design</dc:title>
  <dc:creator>Alessandro Manghi</dc:creator>
  <cp:lastModifiedBy>Silvia Conti - 243251</cp:lastModifiedBy>
  <cp:revision>36</cp:revision>
  <dcterms:created xsi:type="dcterms:W3CDTF">2022-10-08T16:19:45Z</dcterms:created>
  <dcterms:modified xsi:type="dcterms:W3CDTF">2024-10-22T16:41:31Z</dcterms:modified>
</cp:coreProperties>
</file>